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 id="2147483715" r:id="rId5"/>
    <p:sldMasterId id="2147483687" r:id="rId6"/>
    <p:sldMasterId id="2147483731" r:id="rId7"/>
  </p:sldMasterIdLst>
  <p:notesMasterIdLst>
    <p:notesMasterId r:id="rId28"/>
  </p:notesMasterIdLst>
  <p:handoutMasterIdLst>
    <p:handoutMasterId r:id="rId29"/>
  </p:handoutMasterIdLst>
  <p:sldIdLst>
    <p:sldId id="256" r:id="rId8"/>
    <p:sldId id="409" r:id="rId9"/>
    <p:sldId id="391" r:id="rId10"/>
    <p:sldId id="411" r:id="rId11"/>
    <p:sldId id="392" r:id="rId12"/>
    <p:sldId id="394" r:id="rId13"/>
    <p:sldId id="397" r:id="rId14"/>
    <p:sldId id="396" r:id="rId15"/>
    <p:sldId id="412" r:id="rId16"/>
    <p:sldId id="400" r:id="rId17"/>
    <p:sldId id="399" r:id="rId18"/>
    <p:sldId id="401" r:id="rId19"/>
    <p:sldId id="413" r:id="rId20"/>
    <p:sldId id="404" r:id="rId21"/>
    <p:sldId id="405" r:id="rId22"/>
    <p:sldId id="406" r:id="rId23"/>
    <p:sldId id="407" r:id="rId24"/>
    <p:sldId id="408" r:id="rId25"/>
    <p:sldId id="410" r:id="rId26"/>
    <p:sldId id="390" r:id="rId27"/>
  </p:sldIdLst>
  <p:sldSz cx="9144000" cy="6858000" type="screen4x3"/>
  <p:notesSz cx="6807200" cy="9939338"/>
  <p:custDataLst>
    <p:tags r:id="rId30"/>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371464" algn="l" rtl="0" fontAlgn="base">
      <a:spcBef>
        <a:spcPct val="0"/>
      </a:spcBef>
      <a:spcAft>
        <a:spcPct val="0"/>
      </a:spcAft>
      <a:defRPr kumimoji="1" kern="1200">
        <a:solidFill>
          <a:schemeClr val="tx1"/>
        </a:solidFill>
        <a:latin typeface="Arial" charset="0"/>
        <a:ea typeface="ＭＳ Ｐゴシック" charset="-128"/>
        <a:cs typeface="+mn-cs"/>
      </a:defRPr>
    </a:lvl2pPr>
    <a:lvl3pPr marL="742927" algn="l" rtl="0" fontAlgn="base">
      <a:spcBef>
        <a:spcPct val="0"/>
      </a:spcBef>
      <a:spcAft>
        <a:spcPct val="0"/>
      </a:spcAft>
      <a:defRPr kumimoji="1" kern="1200">
        <a:solidFill>
          <a:schemeClr val="tx1"/>
        </a:solidFill>
        <a:latin typeface="Arial" charset="0"/>
        <a:ea typeface="ＭＳ Ｐゴシック" charset="-128"/>
        <a:cs typeface="+mn-cs"/>
      </a:defRPr>
    </a:lvl3pPr>
    <a:lvl4pPr marL="1114391" algn="l" rtl="0" fontAlgn="base">
      <a:spcBef>
        <a:spcPct val="0"/>
      </a:spcBef>
      <a:spcAft>
        <a:spcPct val="0"/>
      </a:spcAft>
      <a:defRPr kumimoji="1" kern="1200">
        <a:solidFill>
          <a:schemeClr val="tx1"/>
        </a:solidFill>
        <a:latin typeface="Arial" charset="0"/>
        <a:ea typeface="ＭＳ Ｐゴシック" charset="-128"/>
        <a:cs typeface="+mn-cs"/>
      </a:defRPr>
    </a:lvl4pPr>
    <a:lvl5pPr marL="1485854" algn="l" rtl="0" fontAlgn="base">
      <a:spcBef>
        <a:spcPct val="0"/>
      </a:spcBef>
      <a:spcAft>
        <a:spcPct val="0"/>
      </a:spcAft>
      <a:defRPr kumimoji="1" kern="1200">
        <a:solidFill>
          <a:schemeClr val="tx1"/>
        </a:solidFill>
        <a:latin typeface="Arial" charset="0"/>
        <a:ea typeface="ＭＳ Ｐゴシック" charset="-128"/>
        <a:cs typeface="+mn-cs"/>
      </a:defRPr>
    </a:lvl5pPr>
    <a:lvl6pPr marL="1857318" algn="l" defTabSz="742927" rtl="0" eaLnBrk="1" latinLnBrk="0" hangingPunct="1">
      <a:defRPr kumimoji="1" kern="1200">
        <a:solidFill>
          <a:schemeClr val="tx1"/>
        </a:solidFill>
        <a:latin typeface="Arial" charset="0"/>
        <a:ea typeface="ＭＳ Ｐゴシック" charset="-128"/>
        <a:cs typeface="+mn-cs"/>
      </a:defRPr>
    </a:lvl6pPr>
    <a:lvl7pPr marL="2228781" algn="l" defTabSz="742927" rtl="0" eaLnBrk="1" latinLnBrk="0" hangingPunct="1">
      <a:defRPr kumimoji="1" kern="1200">
        <a:solidFill>
          <a:schemeClr val="tx1"/>
        </a:solidFill>
        <a:latin typeface="Arial" charset="0"/>
        <a:ea typeface="ＭＳ Ｐゴシック" charset="-128"/>
        <a:cs typeface="+mn-cs"/>
      </a:defRPr>
    </a:lvl7pPr>
    <a:lvl8pPr marL="2600245" algn="l" defTabSz="742927" rtl="0" eaLnBrk="1" latinLnBrk="0" hangingPunct="1">
      <a:defRPr kumimoji="1" kern="1200">
        <a:solidFill>
          <a:schemeClr val="tx1"/>
        </a:solidFill>
        <a:latin typeface="Arial" charset="0"/>
        <a:ea typeface="ＭＳ Ｐゴシック" charset="-128"/>
        <a:cs typeface="+mn-cs"/>
      </a:defRPr>
    </a:lvl8pPr>
    <a:lvl9pPr marL="2971709" algn="l" defTabSz="742927" rtl="0" eaLnBrk="1" latinLnBrk="0" hangingPunct="1">
      <a:defRPr kumimoji="1" kern="1200">
        <a:solidFill>
          <a:schemeClr val="tx1"/>
        </a:solidFill>
        <a:latin typeface="Arial" charset="0"/>
        <a:ea typeface="ＭＳ Ｐゴシック" charset="-128"/>
        <a:cs typeface="+mn-cs"/>
      </a:defRPr>
    </a:lvl9pPr>
  </p:defaultTextStyle>
  <p:extLst>
    <p:ext uri="{521415D9-36F7-43E2-AB2F-B90AF26B5E84}">
      <p14:sectionLst xmlns:p14="http://schemas.microsoft.com/office/powerpoint/2010/main">
        <p14:section name="既定のセクション" id="{667E38DC-46C5-44D7-A0E6-DA42CD4A38D1}">
          <p14:sldIdLst>
            <p14:sldId id="256"/>
            <p14:sldId id="409"/>
            <p14:sldId id="391"/>
            <p14:sldId id="411"/>
            <p14:sldId id="392"/>
            <p14:sldId id="394"/>
            <p14:sldId id="397"/>
            <p14:sldId id="396"/>
            <p14:sldId id="412"/>
            <p14:sldId id="400"/>
            <p14:sldId id="399"/>
            <p14:sldId id="401"/>
            <p14:sldId id="413"/>
            <p14:sldId id="404"/>
            <p14:sldId id="405"/>
            <p14:sldId id="406"/>
            <p14:sldId id="407"/>
            <p14:sldId id="408"/>
            <p14:sldId id="410"/>
            <p14:sldId id="390"/>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3A65"/>
    <a:srgbClr val="042348"/>
    <a:srgbClr val="D3134E"/>
    <a:srgbClr val="778F77"/>
    <a:srgbClr val="995632"/>
    <a:srgbClr val="566E57"/>
    <a:srgbClr val="FEB008"/>
    <a:srgbClr val="1E7876"/>
    <a:srgbClr val="AB98C4"/>
    <a:srgbClr val="185C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37EF54-1A68-3245-B635-4F404E79988F}" v="1048" dt="2026-07-18T11:31:19.22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56" autoAdjust="0"/>
    <p:restoredTop sz="68009" autoAdjust="0"/>
  </p:normalViewPr>
  <p:slideViewPr>
    <p:cSldViewPr>
      <p:cViewPr>
        <p:scale>
          <a:sx n="78" d="100"/>
          <a:sy n="78" d="100"/>
        </p:scale>
        <p:origin x="1656" y="64"/>
      </p:cViewPr>
      <p:guideLst>
        <p:guide orient="horz" pos="2160"/>
        <p:guide pos="2880"/>
      </p:guideLst>
    </p:cSldViewPr>
  </p:slideViewPr>
  <p:outlineViewPr>
    <p:cViewPr>
      <p:scale>
        <a:sx n="33" d="100"/>
        <a:sy n="33" d="100"/>
      </p:scale>
      <p:origin x="0" y="-3618"/>
    </p:cViewPr>
  </p:outlineViewPr>
  <p:notesTextViewPr>
    <p:cViewPr>
      <p:scale>
        <a:sx n="110" d="100"/>
        <a:sy n="110" d="100"/>
      </p:scale>
      <p:origin x="0" y="0"/>
    </p:cViewPr>
  </p:notesTextViewPr>
  <p:sorterViewPr>
    <p:cViewPr>
      <p:scale>
        <a:sx n="66" d="100"/>
        <a:sy n="66" d="100"/>
      </p:scale>
      <p:origin x="0" y="0"/>
    </p:cViewPr>
  </p:sorterViewPr>
  <p:notesViewPr>
    <p:cSldViewPr>
      <p:cViewPr varScale="1">
        <p:scale>
          <a:sx n="91" d="100"/>
          <a:sy n="91" d="100"/>
        </p:scale>
        <p:origin x="-2772" y="-9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unyen Li (李 俊諺)" userId="40660eec-0f7d-4f76-820a-6b6c2202dd67" providerId="ADAL" clId="{27675839-2FA2-552B-B863-17B94EBDFF3D}"/>
    <pc:docChg chg="undo custSel addSld delSld modSld sldOrd addSection modSection">
      <pc:chgData name="Chunyen Li (李 俊諺)" userId="40660eec-0f7d-4f76-820a-6b6c2202dd67" providerId="ADAL" clId="{27675839-2FA2-552B-B863-17B94EBDFF3D}" dt="2026-07-18T11:31:23.683" v="9529" actId="1076"/>
      <pc:docMkLst>
        <pc:docMk/>
      </pc:docMkLst>
      <pc:sldChg chg="addSp delSp modSp mod">
        <pc:chgData name="Chunyen Li (李 俊諺)" userId="40660eec-0f7d-4f76-820a-6b6c2202dd67" providerId="ADAL" clId="{27675839-2FA2-552B-B863-17B94EBDFF3D}" dt="2026-07-17T02:25:55.049" v="2727" actId="1076"/>
        <pc:sldMkLst>
          <pc:docMk/>
          <pc:sldMk cId="582702616" sldId="365"/>
        </pc:sldMkLst>
        <pc:spChg chg="mod">
          <ac:chgData name="Chunyen Li (李 俊諺)" userId="40660eec-0f7d-4f76-820a-6b6c2202dd67" providerId="ADAL" clId="{27675839-2FA2-552B-B863-17B94EBDFF3D}" dt="2026-07-17T02:25:42.654" v="2711" actId="1076"/>
          <ac:spMkLst>
            <pc:docMk/>
            <pc:sldMk cId="582702616" sldId="365"/>
            <ac:spMk id="5" creationId="{CC31587D-CDDE-4711-C81D-0DA6B2A4085E}"/>
          </ac:spMkLst>
        </pc:spChg>
        <pc:spChg chg="mod">
          <ac:chgData name="Chunyen Li (李 俊諺)" userId="40660eec-0f7d-4f76-820a-6b6c2202dd67" providerId="ADAL" clId="{27675839-2FA2-552B-B863-17B94EBDFF3D}" dt="2026-07-17T02:25:44.173" v="2714" actId="6549"/>
          <ac:spMkLst>
            <pc:docMk/>
            <pc:sldMk cId="582702616" sldId="365"/>
            <ac:spMk id="9" creationId="{A46E6AEB-E7B8-2789-E462-A16C8A01B37F}"/>
          </ac:spMkLst>
        </pc:spChg>
        <pc:spChg chg="mod">
          <ac:chgData name="Chunyen Li (李 俊諺)" userId="40660eec-0f7d-4f76-820a-6b6c2202dd67" providerId="ADAL" clId="{27675839-2FA2-552B-B863-17B94EBDFF3D}" dt="2026-07-17T02:25:46.195" v="2717" actId="6549"/>
          <ac:spMkLst>
            <pc:docMk/>
            <pc:sldMk cId="582702616" sldId="365"/>
            <ac:spMk id="10" creationId="{6C1B1FB3-23B0-16E7-AE9F-9B818AE2ED27}"/>
          </ac:spMkLst>
        </pc:spChg>
        <pc:spChg chg="mod">
          <ac:chgData name="Chunyen Li (李 俊諺)" userId="40660eec-0f7d-4f76-820a-6b6c2202dd67" providerId="ADAL" clId="{27675839-2FA2-552B-B863-17B94EBDFF3D}" dt="2026-07-17T02:25:43.248" v="2712" actId="1076"/>
          <ac:spMkLst>
            <pc:docMk/>
            <pc:sldMk cId="582702616" sldId="365"/>
            <ac:spMk id="250" creationId="{FDB27ECD-A410-A44D-4C72-586696B33D63}"/>
          </ac:spMkLst>
        </pc:spChg>
        <pc:picChg chg="add mod modCrop">
          <ac:chgData name="Chunyen Li (李 俊諺)" userId="40660eec-0f7d-4f76-820a-6b6c2202dd67" providerId="ADAL" clId="{27675839-2FA2-552B-B863-17B94EBDFF3D}" dt="2026-07-17T02:25:55.049" v="2727" actId="1076"/>
          <ac:picMkLst>
            <pc:docMk/>
            <pc:sldMk cId="582702616" sldId="365"/>
            <ac:picMk id="2" creationId="{C8E01DB7-DF6C-FD58-8B2B-18C9BC0FCF71}"/>
          </ac:picMkLst>
        </pc:picChg>
        <pc:picChg chg="add del">
          <ac:chgData name="Chunyen Li (李 俊諺)" userId="40660eec-0f7d-4f76-820a-6b6c2202dd67" providerId="ADAL" clId="{27675839-2FA2-552B-B863-17B94EBDFF3D}" dt="2026-07-17T02:25:48.242" v="2721" actId="478"/>
          <ac:picMkLst>
            <pc:docMk/>
            <pc:sldMk cId="582702616" sldId="365"/>
            <ac:picMk id="3" creationId="{07C994E1-51DA-E78B-F19B-EF8AEBB2B5C8}"/>
          </ac:picMkLst>
        </pc:picChg>
        <pc:cxnChg chg="mod">
          <ac:chgData name="Chunyen Li (李 俊諺)" userId="40660eec-0f7d-4f76-820a-6b6c2202dd67" providerId="ADAL" clId="{27675839-2FA2-552B-B863-17B94EBDFF3D}" dt="2026-07-17T02:25:42.654" v="2711" actId="1076"/>
          <ac:cxnSpMkLst>
            <pc:docMk/>
            <pc:sldMk cId="582702616" sldId="365"/>
            <ac:cxnSpMk id="7" creationId="{FC70AFDA-F5FF-D00E-B7B1-5920CA41FA16}"/>
          </ac:cxnSpMkLst>
        </pc:cxnChg>
      </pc:sldChg>
      <pc:sldChg chg="del">
        <pc:chgData name="Chunyen Li (李 俊諺)" userId="40660eec-0f7d-4f76-820a-6b6c2202dd67" providerId="ADAL" clId="{27675839-2FA2-552B-B863-17B94EBDFF3D}" dt="2026-07-17T09:28:33.292" v="6523" actId="2696"/>
        <pc:sldMkLst>
          <pc:docMk/>
          <pc:sldMk cId="2666112279" sldId="389"/>
        </pc:sldMkLst>
      </pc:sldChg>
      <pc:sldChg chg="modSp mod">
        <pc:chgData name="Chunyen Li (李 俊諺)" userId="40660eec-0f7d-4f76-820a-6b6c2202dd67" providerId="ADAL" clId="{27675839-2FA2-552B-B863-17B94EBDFF3D}" dt="2026-07-17T23:42:17.773" v="9400" actId="113"/>
        <pc:sldMkLst>
          <pc:docMk/>
          <pc:sldMk cId="761514538" sldId="391"/>
        </pc:sldMkLst>
        <pc:spChg chg="mod">
          <ac:chgData name="Chunyen Li (李 俊諺)" userId="40660eec-0f7d-4f76-820a-6b6c2202dd67" providerId="ADAL" clId="{27675839-2FA2-552B-B863-17B94EBDFF3D}" dt="2026-07-16T13:30:01.542" v="252" actId="1076"/>
          <ac:spMkLst>
            <pc:docMk/>
            <pc:sldMk cId="761514538" sldId="391"/>
            <ac:spMk id="17" creationId="{CAA6D9A9-73BE-FD5F-6875-96C85E16D144}"/>
          </ac:spMkLst>
        </pc:spChg>
        <pc:spChg chg="mod">
          <ac:chgData name="Chunyen Li (李 俊諺)" userId="40660eec-0f7d-4f76-820a-6b6c2202dd67" providerId="ADAL" clId="{27675839-2FA2-552B-B863-17B94EBDFF3D}" dt="2026-07-16T13:30:04.360" v="253" actId="1076"/>
          <ac:spMkLst>
            <pc:docMk/>
            <pc:sldMk cId="761514538" sldId="391"/>
            <ac:spMk id="19" creationId="{5BB4675D-1C9A-8A49-AAC1-315CC13F404C}"/>
          </ac:spMkLst>
        </pc:spChg>
        <pc:spChg chg="mod">
          <ac:chgData name="Chunyen Li (李 俊諺)" userId="40660eec-0f7d-4f76-820a-6b6c2202dd67" providerId="ADAL" clId="{27675839-2FA2-552B-B863-17B94EBDFF3D}" dt="2026-07-17T23:42:17.773" v="9400" actId="113"/>
          <ac:spMkLst>
            <pc:docMk/>
            <pc:sldMk cId="761514538" sldId="391"/>
            <ac:spMk id="27" creationId="{58DC096D-B6FF-96DF-0697-8534A72E09F8}"/>
          </ac:spMkLst>
        </pc:spChg>
        <pc:picChg chg="mod">
          <ac:chgData name="Chunyen Li (李 俊諺)" userId="40660eec-0f7d-4f76-820a-6b6c2202dd67" providerId="ADAL" clId="{27675839-2FA2-552B-B863-17B94EBDFF3D}" dt="2026-07-17T23:38:40.666" v="9391" actId="1076"/>
          <ac:picMkLst>
            <pc:docMk/>
            <pc:sldMk cId="761514538" sldId="391"/>
            <ac:picMk id="24" creationId="{4B36E255-8810-97A8-A75F-CDA12989C0C6}"/>
          </ac:picMkLst>
        </pc:picChg>
      </pc:sldChg>
      <pc:sldChg chg="addSp delSp modSp mod">
        <pc:chgData name="Chunyen Li (李 俊諺)" userId="40660eec-0f7d-4f76-820a-6b6c2202dd67" providerId="ADAL" clId="{27675839-2FA2-552B-B863-17B94EBDFF3D}" dt="2026-07-17T00:59:57.452" v="2106"/>
        <pc:sldMkLst>
          <pc:docMk/>
          <pc:sldMk cId="933984980" sldId="392"/>
        </pc:sldMkLst>
        <pc:spChg chg="mod">
          <ac:chgData name="Chunyen Li (李 俊諺)" userId="40660eec-0f7d-4f76-820a-6b6c2202dd67" providerId="ADAL" clId="{27675839-2FA2-552B-B863-17B94EBDFF3D}" dt="2026-07-16T13:16:40.534" v="185" actId="20577"/>
          <ac:spMkLst>
            <pc:docMk/>
            <pc:sldMk cId="933984980" sldId="392"/>
            <ac:spMk id="2" creationId="{04FEC333-FF3B-CFF3-399B-502801B0B516}"/>
          </ac:spMkLst>
        </pc:spChg>
        <pc:spChg chg="add mod">
          <ac:chgData name="Chunyen Li (李 俊諺)" userId="40660eec-0f7d-4f76-820a-6b6c2202dd67" providerId="ADAL" clId="{27675839-2FA2-552B-B863-17B94EBDFF3D}" dt="2026-07-16T13:06:34.737" v="83" actId="1038"/>
          <ac:spMkLst>
            <pc:docMk/>
            <pc:sldMk cId="933984980" sldId="392"/>
            <ac:spMk id="4" creationId="{B4A8C655-319E-6181-2B85-37FC636F24E8}"/>
          </ac:spMkLst>
        </pc:spChg>
        <pc:spChg chg="add mod">
          <ac:chgData name="Chunyen Li (李 俊諺)" userId="40660eec-0f7d-4f76-820a-6b6c2202dd67" providerId="ADAL" clId="{27675839-2FA2-552B-B863-17B94EBDFF3D}" dt="2026-07-16T13:16:13.575" v="181" actId="1076"/>
          <ac:spMkLst>
            <pc:docMk/>
            <pc:sldMk cId="933984980" sldId="392"/>
            <ac:spMk id="10" creationId="{B65CDEEA-839C-F16A-0F80-4254649908B9}"/>
          </ac:spMkLst>
        </pc:spChg>
        <pc:spChg chg="mod">
          <ac:chgData name="Chunyen Li (李 俊諺)" userId="40660eec-0f7d-4f76-820a-6b6c2202dd67" providerId="ADAL" clId="{27675839-2FA2-552B-B863-17B94EBDFF3D}" dt="2026-07-17T00:59:57.452" v="2106"/>
          <ac:spMkLst>
            <pc:docMk/>
            <pc:sldMk cId="933984980" sldId="392"/>
            <ac:spMk id="14" creationId="{20435B8B-F8B0-9703-F610-E2208973B077}"/>
          </ac:spMkLst>
        </pc:spChg>
        <pc:spChg chg="mod">
          <ac:chgData name="Chunyen Li (李 俊諺)" userId="40660eec-0f7d-4f76-820a-6b6c2202dd67" providerId="ADAL" clId="{27675839-2FA2-552B-B863-17B94EBDFF3D}" dt="2026-07-16T13:37:24.454" v="352" actId="14100"/>
          <ac:spMkLst>
            <pc:docMk/>
            <pc:sldMk cId="933984980" sldId="392"/>
            <ac:spMk id="17" creationId="{1FE86669-7927-656F-235E-DE48120D3039}"/>
          </ac:spMkLst>
        </pc:spChg>
        <pc:spChg chg="mod">
          <ac:chgData name="Chunyen Li (李 俊諺)" userId="40660eec-0f7d-4f76-820a-6b6c2202dd67" providerId="ADAL" clId="{27675839-2FA2-552B-B863-17B94EBDFF3D}" dt="2026-07-16T12:58:11.975" v="14" actId="207"/>
          <ac:spMkLst>
            <pc:docMk/>
            <pc:sldMk cId="933984980" sldId="392"/>
            <ac:spMk id="49" creationId="{B00EDECD-2CF4-5499-E34E-5B3CA121773C}"/>
          </ac:spMkLst>
        </pc:spChg>
        <pc:spChg chg="mod">
          <ac:chgData name="Chunyen Li (李 俊諺)" userId="40660eec-0f7d-4f76-820a-6b6c2202dd67" providerId="ADAL" clId="{27675839-2FA2-552B-B863-17B94EBDFF3D}" dt="2026-07-16T12:54:28.071" v="1" actId="1076"/>
          <ac:spMkLst>
            <pc:docMk/>
            <pc:sldMk cId="933984980" sldId="392"/>
            <ac:spMk id="57" creationId="{B073637B-3DE9-AD04-643E-BADF0DA37FDC}"/>
          </ac:spMkLst>
        </pc:spChg>
        <pc:spChg chg="mod">
          <ac:chgData name="Chunyen Li (李 俊諺)" userId="40660eec-0f7d-4f76-820a-6b6c2202dd67" providerId="ADAL" clId="{27675839-2FA2-552B-B863-17B94EBDFF3D}" dt="2026-07-16T13:09:05.977" v="95" actId="1076"/>
          <ac:spMkLst>
            <pc:docMk/>
            <pc:sldMk cId="933984980" sldId="392"/>
            <ac:spMk id="58" creationId="{5B3097AC-C4E6-522B-282C-6543A66AEB63}"/>
          </ac:spMkLst>
        </pc:spChg>
        <pc:spChg chg="mod">
          <ac:chgData name="Chunyen Li (李 俊諺)" userId="40660eec-0f7d-4f76-820a-6b6c2202dd67" providerId="ADAL" clId="{27675839-2FA2-552B-B863-17B94EBDFF3D}" dt="2026-07-16T12:57:21.471" v="2" actId="207"/>
          <ac:spMkLst>
            <pc:docMk/>
            <pc:sldMk cId="933984980" sldId="392"/>
            <ac:spMk id="59" creationId="{167B0D16-2DB0-5571-2F2E-5FE698A4ED73}"/>
          </ac:spMkLst>
        </pc:spChg>
        <pc:spChg chg="mod">
          <ac:chgData name="Chunyen Li (李 俊諺)" userId="40660eec-0f7d-4f76-820a-6b6c2202dd67" providerId="ADAL" clId="{27675839-2FA2-552B-B863-17B94EBDFF3D}" dt="2026-07-16T13:09:02.308" v="94" actId="1076"/>
          <ac:spMkLst>
            <pc:docMk/>
            <pc:sldMk cId="933984980" sldId="392"/>
            <ac:spMk id="63" creationId="{A57384ED-092A-D802-F109-EA0E7B79F9C4}"/>
          </ac:spMkLst>
        </pc:spChg>
        <pc:spChg chg="mod">
          <ac:chgData name="Chunyen Li (李 俊諺)" userId="40660eec-0f7d-4f76-820a-6b6c2202dd67" providerId="ADAL" clId="{27675839-2FA2-552B-B863-17B94EBDFF3D}" dt="2026-07-16T13:37:15.600" v="335" actId="14100"/>
          <ac:spMkLst>
            <pc:docMk/>
            <pc:sldMk cId="933984980" sldId="392"/>
            <ac:spMk id="65" creationId="{DFAF0AB7-C7ED-A95B-C168-876011D6A584}"/>
          </ac:spMkLst>
        </pc:spChg>
        <pc:picChg chg="mod">
          <ac:chgData name="Chunyen Li (李 俊諺)" userId="40660eec-0f7d-4f76-820a-6b6c2202dd67" providerId="ADAL" clId="{27675839-2FA2-552B-B863-17B94EBDFF3D}" dt="2026-07-16T13:15:43.304" v="172" actId="1076"/>
          <ac:picMkLst>
            <pc:docMk/>
            <pc:sldMk cId="933984980" sldId="392"/>
            <ac:picMk id="6" creationId="{7AD0783B-7546-947A-355A-E49C66742CCA}"/>
          </ac:picMkLst>
        </pc:picChg>
        <pc:cxnChg chg="add del mod">
          <ac:chgData name="Chunyen Li (李 俊諺)" userId="40660eec-0f7d-4f76-820a-6b6c2202dd67" providerId="ADAL" clId="{27675839-2FA2-552B-B863-17B94EBDFF3D}" dt="2026-07-16T13:16:13.240" v="180" actId="478"/>
          <ac:cxnSpMkLst>
            <pc:docMk/>
            <pc:sldMk cId="933984980" sldId="392"/>
            <ac:cxnSpMk id="11" creationId="{ED35272C-FAA1-1547-0B40-3A1541B89642}"/>
          </ac:cxnSpMkLst>
        </pc:cxnChg>
        <pc:cxnChg chg="mod">
          <ac:chgData name="Chunyen Li (李 俊諺)" userId="40660eec-0f7d-4f76-820a-6b6c2202dd67" providerId="ADAL" clId="{27675839-2FA2-552B-B863-17B94EBDFF3D}" dt="2026-07-16T12:57:29.010" v="4" actId="692"/>
          <ac:cxnSpMkLst>
            <pc:docMk/>
            <pc:sldMk cId="933984980" sldId="392"/>
            <ac:cxnSpMk id="54" creationId="{31872E46-155A-2116-0CA4-B17D30311F5B}"/>
          </ac:cxnSpMkLst>
        </pc:cxnChg>
      </pc:sldChg>
      <pc:sldChg chg="addSp delSp modSp add mod">
        <pc:chgData name="Chunyen Li (李 俊諺)" userId="40660eec-0f7d-4f76-820a-6b6c2202dd67" providerId="ADAL" clId="{27675839-2FA2-552B-B863-17B94EBDFF3D}" dt="2026-07-18T01:52:21.837" v="9463" actId="1076"/>
        <pc:sldMkLst>
          <pc:docMk/>
          <pc:sldMk cId="1316500623" sldId="394"/>
        </pc:sldMkLst>
        <pc:spChg chg="mod">
          <ac:chgData name="Chunyen Li (李 俊諺)" userId="40660eec-0f7d-4f76-820a-6b6c2202dd67" providerId="ADAL" clId="{27675839-2FA2-552B-B863-17B94EBDFF3D}" dt="2026-07-16T23:49:41.149" v="1474" actId="20577"/>
          <ac:spMkLst>
            <pc:docMk/>
            <pc:sldMk cId="1316500623" sldId="394"/>
            <ac:spMk id="2" creationId="{B9E9BE83-C18E-CEBC-BF78-BD17655C5E6C}"/>
          </ac:spMkLst>
        </pc:spChg>
        <pc:spChg chg="add del mod">
          <ac:chgData name="Chunyen Li (李 俊諺)" userId="40660eec-0f7d-4f76-820a-6b6c2202dd67" providerId="ADAL" clId="{27675839-2FA2-552B-B863-17B94EBDFF3D}" dt="2026-07-17T02:14:32.018" v="2675" actId="478"/>
          <ac:spMkLst>
            <pc:docMk/>
            <pc:sldMk cId="1316500623" sldId="394"/>
            <ac:spMk id="12" creationId="{D7C9D7A9-598D-0179-0714-4C8536E390BC}"/>
          </ac:spMkLst>
        </pc:spChg>
        <pc:spChg chg="mod">
          <ac:chgData name="Chunyen Li (李 俊諺)" userId="40660eec-0f7d-4f76-820a-6b6c2202dd67" providerId="ADAL" clId="{27675839-2FA2-552B-B863-17B94EBDFF3D}" dt="2026-07-18T00:49:08.197" v="9401" actId="13926"/>
          <ac:spMkLst>
            <pc:docMk/>
            <pc:sldMk cId="1316500623" sldId="394"/>
            <ac:spMk id="14" creationId="{2B7ABE12-9256-F6B9-831A-26AC2050C4D8}"/>
          </ac:spMkLst>
        </pc:spChg>
        <pc:spChg chg="add mod">
          <ac:chgData name="Chunyen Li (李 俊諺)" userId="40660eec-0f7d-4f76-820a-6b6c2202dd67" providerId="ADAL" clId="{27675839-2FA2-552B-B863-17B94EBDFF3D}" dt="2026-07-16T13:56:12.536" v="438" actId="1076"/>
          <ac:spMkLst>
            <pc:docMk/>
            <pc:sldMk cId="1316500623" sldId="394"/>
            <ac:spMk id="15" creationId="{2F4A3C32-A317-7269-1288-82B03E97D1F5}"/>
          </ac:spMkLst>
        </pc:spChg>
        <pc:spChg chg="mod">
          <ac:chgData name="Chunyen Li (李 俊諺)" userId="40660eec-0f7d-4f76-820a-6b6c2202dd67" providerId="ADAL" clId="{27675839-2FA2-552B-B863-17B94EBDFF3D}" dt="2026-07-18T01:50:02.676" v="9422" actId="1076"/>
          <ac:spMkLst>
            <pc:docMk/>
            <pc:sldMk cId="1316500623" sldId="394"/>
            <ac:spMk id="17" creationId="{4F646348-BE10-7A4B-F02F-DF5A25AA6F17}"/>
          </ac:spMkLst>
        </pc:spChg>
        <pc:spChg chg="add mod">
          <ac:chgData name="Chunyen Li (李 俊諺)" userId="40660eec-0f7d-4f76-820a-6b6c2202dd67" providerId="ADAL" clId="{27675839-2FA2-552B-B863-17B94EBDFF3D}" dt="2026-07-18T01:50:12.506" v="9423" actId="1076"/>
          <ac:spMkLst>
            <pc:docMk/>
            <pc:sldMk cId="1316500623" sldId="394"/>
            <ac:spMk id="35" creationId="{7B6CCE65-82CA-E1AD-4462-6BAB8CDDACC7}"/>
          </ac:spMkLst>
        </pc:spChg>
        <pc:spChg chg="add mod">
          <ac:chgData name="Chunyen Li (李 俊諺)" userId="40660eec-0f7d-4f76-820a-6b6c2202dd67" providerId="ADAL" clId="{27675839-2FA2-552B-B863-17B94EBDFF3D}" dt="2026-07-18T01:50:12.506" v="9423" actId="1076"/>
          <ac:spMkLst>
            <pc:docMk/>
            <pc:sldMk cId="1316500623" sldId="394"/>
            <ac:spMk id="36" creationId="{B075D5D4-0820-DE40-324C-D21ECE4B3CDF}"/>
          </ac:spMkLst>
        </pc:spChg>
        <pc:spChg chg="add mod">
          <ac:chgData name="Chunyen Li (李 俊諺)" userId="40660eec-0f7d-4f76-820a-6b6c2202dd67" providerId="ADAL" clId="{27675839-2FA2-552B-B863-17B94EBDFF3D}" dt="2026-07-16T23:35:17.105" v="1270" actId="1076"/>
          <ac:spMkLst>
            <pc:docMk/>
            <pc:sldMk cId="1316500623" sldId="394"/>
            <ac:spMk id="37" creationId="{674E577D-9F8B-5A04-7EA9-89C2B89C1FCF}"/>
          </ac:spMkLst>
        </pc:spChg>
        <pc:spChg chg="add mod">
          <ac:chgData name="Chunyen Li (李 俊諺)" userId="40660eec-0f7d-4f76-820a-6b6c2202dd67" providerId="ADAL" clId="{27675839-2FA2-552B-B863-17B94EBDFF3D}" dt="2026-07-16T23:35:17.105" v="1270" actId="1076"/>
          <ac:spMkLst>
            <pc:docMk/>
            <pc:sldMk cId="1316500623" sldId="394"/>
            <ac:spMk id="38" creationId="{711B5559-17C5-A831-A757-CF633CD84216}"/>
          </ac:spMkLst>
        </pc:spChg>
        <pc:spChg chg="add mod">
          <ac:chgData name="Chunyen Li (李 俊諺)" userId="40660eec-0f7d-4f76-820a-6b6c2202dd67" providerId="ADAL" clId="{27675839-2FA2-552B-B863-17B94EBDFF3D}" dt="2026-07-16T23:35:17.105" v="1270" actId="1076"/>
          <ac:spMkLst>
            <pc:docMk/>
            <pc:sldMk cId="1316500623" sldId="394"/>
            <ac:spMk id="39" creationId="{7D43A40F-FA89-EEE0-2DF0-1C4B77C3C48F}"/>
          </ac:spMkLst>
        </pc:spChg>
        <pc:spChg chg="add mod">
          <ac:chgData name="Chunyen Li (李 俊諺)" userId="40660eec-0f7d-4f76-820a-6b6c2202dd67" providerId="ADAL" clId="{27675839-2FA2-552B-B863-17B94EBDFF3D}" dt="2026-07-18T01:50:12.506" v="9423" actId="1076"/>
          <ac:spMkLst>
            <pc:docMk/>
            <pc:sldMk cId="1316500623" sldId="394"/>
            <ac:spMk id="41" creationId="{45D54B70-67F5-AF4B-4717-52CE7A90A8C0}"/>
          </ac:spMkLst>
        </pc:spChg>
        <pc:spChg chg="add mod">
          <ac:chgData name="Chunyen Li (李 俊諺)" userId="40660eec-0f7d-4f76-820a-6b6c2202dd67" providerId="ADAL" clId="{27675839-2FA2-552B-B863-17B94EBDFF3D}" dt="2026-07-18T01:51:25.190" v="9448" actId="1076"/>
          <ac:spMkLst>
            <pc:docMk/>
            <pc:sldMk cId="1316500623" sldId="394"/>
            <ac:spMk id="43" creationId="{8F6B21BF-5EA7-6A26-949F-275DFD176732}"/>
          </ac:spMkLst>
        </pc:spChg>
        <pc:spChg chg="add mod">
          <ac:chgData name="Chunyen Li (李 俊諺)" userId="40660eec-0f7d-4f76-820a-6b6c2202dd67" providerId="ADAL" clId="{27675839-2FA2-552B-B863-17B94EBDFF3D}" dt="2026-07-18T01:52:21.837" v="9463" actId="1076"/>
          <ac:spMkLst>
            <pc:docMk/>
            <pc:sldMk cId="1316500623" sldId="394"/>
            <ac:spMk id="47" creationId="{DB2BEBA0-9C8E-6CC5-D568-5B9E7EFA7F30}"/>
          </ac:spMkLst>
        </pc:spChg>
        <pc:spChg chg="add mod">
          <ac:chgData name="Chunyen Li (李 俊諺)" userId="40660eec-0f7d-4f76-820a-6b6c2202dd67" providerId="ADAL" clId="{27675839-2FA2-552B-B863-17B94EBDFF3D}" dt="2026-07-18T01:51:01.919" v="9439" actId="1076"/>
          <ac:spMkLst>
            <pc:docMk/>
            <pc:sldMk cId="1316500623" sldId="394"/>
            <ac:spMk id="68" creationId="{F100A9B5-9870-B641-E9B5-07432424AB78}"/>
          </ac:spMkLst>
        </pc:spChg>
        <pc:spChg chg="add mod">
          <ac:chgData name="Chunyen Li (李 俊諺)" userId="40660eec-0f7d-4f76-820a-6b6c2202dd67" providerId="ADAL" clId="{27675839-2FA2-552B-B863-17B94EBDFF3D}" dt="2026-07-16T23:35:17.105" v="1270" actId="1076"/>
          <ac:spMkLst>
            <pc:docMk/>
            <pc:sldMk cId="1316500623" sldId="394"/>
            <ac:spMk id="75" creationId="{820629A2-1EB7-90BE-2E51-FC1EEC384DDF}"/>
          </ac:spMkLst>
        </pc:spChg>
        <pc:spChg chg="add mod">
          <ac:chgData name="Chunyen Li (李 俊諺)" userId="40660eec-0f7d-4f76-820a-6b6c2202dd67" providerId="ADAL" clId="{27675839-2FA2-552B-B863-17B94EBDFF3D}" dt="2026-07-16T23:35:19.878" v="1271" actId="1076"/>
          <ac:spMkLst>
            <pc:docMk/>
            <pc:sldMk cId="1316500623" sldId="394"/>
            <ac:spMk id="85" creationId="{5DEA4817-53E3-8A6B-1898-474C7C37814F}"/>
          </ac:spMkLst>
        </pc:spChg>
        <pc:spChg chg="add mod">
          <ac:chgData name="Chunyen Li (李 俊諺)" userId="40660eec-0f7d-4f76-820a-6b6c2202dd67" providerId="ADAL" clId="{27675839-2FA2-552B-B863-17B94EBDFF3D}" dt="2026-07-18T01:52:19.234" v="9462" actId="1076"/>
          <ac:spMkLst>
            <pc:docMk/>
            <pc:sldMk cId="1316500623" sldId="394"/>
            <ac:spMk id="87" creationId="{432DE7BB-A47A-FB0C-3B75-1A84A6D19A23}"/>
          </ac:spMkLst>
        </pc:spChg>
        <pc:spChg chg="add del mod">
          <ac:chgData name="Chunyen Li (李 俊諺)" userId="40660eec-0f7d-4f76-820a-6b6c2202dd67" providerId="ADAL" clId="{27675839-2FA2-552B-B863-17B94EBDFF3D}" dt="2026-07-18T01:49:58.475" v="9419" actId="478"/>
          <ac:spMkLst>
            <pc:docMk/>
            <pc:sldMk cId="1316500623" sldId="394"/>
            <ac:spMk id="88" creationId="{469C84FD-BF6E-3E21-CF7D-D4DF8696FB4C}"/>
          </ac:spMkLst>
        </pc:spChg>
        <pc:spChg chg="add mod">
          <ac:chgData name="Chunyen Li (李 俊諺)" userId="40660eec-0f7d-4f76-820a-6b6c2202dd67" providerId="ADAL" clId="{27675839-2FA2-552B-B863-17B94EBDFF3D}" dt="2026-07-17T09:42:16.249" v="6595" actId="20577"/>
          <ac:spMkLst>
            <pc:docMk/>
            <pc:sldMk cId="1316500623" sldId="394"/>
            <ac:spMk id="91" creationId="{A700303F-BDAC-DA2E-D3E6-DCBD9D4A0C37}"/>
          </ac:spMkLst>
        </pc:spChg>
        <pc:spChg chg="add del mod">
          <ac:chgData name="Chunyen Li (李 俊諺)" userId="40660eec-0f7d-4f76-820a-6b6c2202dd67" providerId="ADAL" clId="{27675839-2FA2-552B-B863-17B94EBDFF3D}" dt="2026-07-18T01:49:58.475" v="9419" actId="478"/>
          <ac:spMkLst>
            <pc:docMk/>
            <pc:sldMk cId="1316500623" sldId="394"/>
            <ac:spMk id="93" creationId="{0A85B47C-761F-C45D-3721-08EDFDC2E654}"/>
          </ac:spMkLst>
        </pc:spChg>
        <pc:spChg chg="add del mod">
          <ac:chgData name="Chunyen Li (李 俊諺)" userId="40660eec-0f7d-4f76-820a-6b6c2202dd67" providerId="ADAL" clId="{27675839-2FA2-552B-B863-17B94EBDFF3D}" dt="2026-07-18T01:50:50.162" v="9436" actId="478"/>
          <ac:spMkLst>
            <pc:docMk/>
            <pc:sldMk cId="1316500623" sldId="394"/>
            <ac:spMk id="96" creationId="{48E8CBA6-5175-8A4C-E6BC-B66A7E8EBA5E}"/>
          </ac:spMkLst>
        </pc:spChg>
        <pc:spChg chg="add mod">
          <ac:chgData name="Chunyen Li (李 俊諺)" userId="40660eec-0f7d-4f76-820a-6b6c2202dd67" providerId="ADAL" clId="{27675839-2FA2-552B-B863-17B94EBDFF3D}" dt="2026-07-18T01:51:27.012" v="9449" actId="1076"/>
          <ac:spMkLst>
            <pc:docMk/>
            <pc:sldMk cId="1316500623" sldId="394"/>
            <ac:spMk id="99" creationId="{2D872482-8195-B7B8-9A30-6E48C01EBB59}"/>
          </ac:spMkLst>
        </pc:spChg>
        <pc:spChg chg="add mod">
          <ac:chgData name="Chunyen Li (李 俊諺)" userId="40660eec-0f7d-4f76-820a-6b6c2202dd67" providerId="ADAL" clId="{27675839-2FA2-552B-B863-17B94EBDFF3D}" dt="2026-07-18T01:52:09.088" v="9461" actId="14100"/>
          <ac:spMkLst>
            <pc:docMk/>
            <pc:sldMk cId="1316500623" sldId="394"/>
            <ac:spMk id="105" creationId="{B55EC609-A36D-7922-B68A-61BBBB186DB5}"/>
          </ac:spMkLst>
        </pc:spChg>
        <pc:grpChg chg="add mod">
          <ac:chgData name="Chunyen Li (李 俊諺)" userId="40660eec-0f7d-4f76-820a-6b6c2202dd67" providerId="ADAL" clId="{27675839-2FA2-552B-B863-17B94EBDFF3D}" dt="2026-07-18T01:51:23.421" v="9447" actId="1076"/>
          <ac:grpSpMkLst>
            <pc:docMk/>
            <pc:sldMk cId="1316500623" sldId="394"/>
            <ac:grpSpMk id="22" creationId="{404D6012-AD39-F56A-735D-C773625C9733}"/>
          </ac:grpSpMkLst>
        </pc:grpChg>
        <pc:picChg chg="add mod modCrop">
          <ac:chgData name="Chunyen Li (李 俊諺)" userId="40660eec-0f7d-4f76-820a-6b6c2202dd67" providerId="ADAL" clId="{27675839-2FA2-552B-B863-17B94EBDFF3D}" dt="2026-07-16T23:35:17.105" v="1270" actId="1076"/>
          <ac:picMkLst>
            <pc:docMk/>
            <pc:sldMk cId="1316500623" sldId="394"/>
            <ac:picMk id="8" creationId="{83CBC898-7565-58CC-BECB-C35D405BAD2A}"/>
          </ac:picMkLst>
        </pc:picChg>
        <pc:picChg chg="add mod modCrop">
          <ac:chgData name="Chunyen Li (李 俊諺)" userId="40660eec-0f7d-4f76-820a-6b6c2202dd67" providerId="ADAL" clId="{27675839-2FA2-552B-B863-17B94EBDFF3D}" dt="2026-07-16T14:12:52.867" v="727" actId="732"/>
          <ac:picMkLst>
            <pc:docMk/>
            <pc:sldMk cId="1316500623" sldId="394"/>
            <ac:picMk id="9" creationId="{7AD31CAE-40B2-2F9A-A259-982EEEC4C544}"/>
          </ac:picMkLst>
        </pc:picChg>
        <pc:picChg chg="add mod modCrop">
          <ac:chgData name="Chunyen Li (李 俊諺)" userId="40660eec-0f7d-4f76-820a-6b6c2202dd67" providerId="ADAL" clId="{27675839-2FA2-552B-B863-17B94EBDFF3D}" dt="2026-07-16T23:35:17.105" v="1270" actId="1076"/>
          <ac:picMkLst>
            <pc:docMk/>
            <pc:sldMk cId="1316500623" sldId="394"/>
            <ac:picMk id="23" creationId="{B41CD4C5-BE22-FF9A-7A06-659F2CAB748C}"/>
          </ac:picMkLst>
        </pc:picChg>
        <pc:picChg chg="add mod modCrop">
          <ac:chgData name="Chunyen Li (李 俊諺)" userId="40660eec-0f7d-4f76-820a-6b6c2202dd67" providerId="ADAL" clId="{27675839-2FA2-552B-B863-17B94EBDFF3D}" dt="2026-07-16T23:35:17.105" v="1270" actId="1076"/>
          <ac:picMkLst>
            <pc:docMk/>
            <pc:sldMk cId="1316500623" sldId="394"/>
            <ac:picMk id="29" creationId="{2E0B8D4C-9EAF-8FF3-6BA4-88F535B258FF}"/>
          </ac:picMkLst>
        </pc:picChg>
        <pc:picChg chg="add mod modCrop">
          <ac:chgData name="Chunyen Li (李 俊諺)" userId="40660eec-0f7d-4f76-820a-6b6c2202dd67" providerId="ADAL" clId="{27675839-2FA2-552B-B863-17B94EBDFF3D}" dt="2026-07-18T01:50:12.506" v="9423" actId="1076"/>
          <ac:picMkLst>
            <pc:docMk/>
            <pc:sldMk cId="1316500623" sldId="394"/>
            <ac:picMk id="30" creationId="{2D7B5C76-09EA-709F-CBE3-B206AAD63F60}"/>
          </ac:picMkLst>
        </pc:picChg>
        <pc:picChg chg="add mod modCrop">
          <ac:chgData name="Chunyen Li (李 俊諺)" userId="40660eec-0f7d-4f76-820a-6b6c2202dd67" providerId="ADAL" clId="{27675839-2FA2-552B-B863-17B94EBDFF3D}" dt="2026-07-18T01:50:12.506" v="9423" actId="1076"/>
          <ac:picMkLst>
            <pc:docMk/>
            <pc:sldMk cId="1316500623" sldId="394"/>
            <ac:picMk id="32" creationId="{C79FA7F7-F122-9141-9B9C-0A0A59CE6EB9}"/>
          </ac:picMkLst>
        </pc:picChg>
        <pc:picChg chg="add mod modCrop">
          <ac:chgData name="Chunyen Li (李 俊諺)" userId="40660eec-0f7d-4f76-820a-6b6c2202dd67" providerId="ADAL" clId="{27675839-2FA2-552B-B863-17B94EBDFF3D}" dt="2026-07-16T23:28:30.744" v="1131" actId="1076"/>
          <ac:picMkLst>
            <pc:docMk/>
            <pc:sldMk cId="1316500623" sldId="394"/>
            <ac:picMk id="33" creationId="{85018826-7E26-B2FD-30C8-222607AE3F6D}"/>
          </ac:picMkLst>
        </pc:picChg>
        <pc:picChg chg="add del mod modCrop">
          <ac:chgData name="Chunyen Li (李 俊諺)" userId="40660eec-0f7d-4f76-820a-6b6c2202dd67" providerId="ADAL" clId="{27675839-2FA2-552B-B863-17B94EBDFF3D}" dt="2026-07-18T01:49:59.448" v="9420" actId="478"/>
          <ac:picMkLst>
            <pc:docMk/>
            <pc:sldMk cId="1316500623" sldId="394"/>
            <ac:picMk id="86" creationId="{6E038E23-327F-C318-7E3D-B1D694E7EB9C}"/>
          </ac:picMkLst>
        </pc:picChg>
        <pc:cxnChg chg="mod">
          <ac:chgData name="Chunyen Li (李 俊諺)" userId="40660eec-0f7d-4f76-820a-6b6c2202dd67" providerId="ADAL" clId="{27675839-2FA2-552B-B863-17B94EBDFF3D}" dt="2026-07-16T23:37:58.425" v="1312" actId="1036"/>
          <ac:cxnSpMkLst>
            <pc:docMk/>
            <pc:sldMk cId="1316500623" sldId="394"/>
            <ac:cxnSpMk id="18" creationId="{097502BF-B9D5-70C5-F48D-5252719E6D2B}"/>
          </ac:cxnSpMkLst>
        </pc:cxnChg>
        <pc:cxnChg chg="add mod">
          <ac:chgData name="Chunyen Li (李 俊諺)" userId="40660eec-0f7d-4f76-820a-6b6c2202dd67" providerId="ADAL" clId="{27675839-2FA2-552B-B863-17B94EBDFF3D}" dt="2026-07-18T01:51:38.841" v="9454" actId="14100"/>
          <ac:cxnSpMkLst>
            <pc:docMk/>
            <pc:sldMk cId="1316500623" sldId="394"/>
            <ac:cxnSpMk id="51" creationId="{EDD770E2-6464-37BD-2364-E92071C74CCC}"/>
          </ac:cxnSpMkLst>
        </pc:cxnChg>
        <pc:cxnChg chg="add mod">
          <ac:chgData name="Chunyen Li (李 俊諺)" userId="40660eec-0f7d-4f76-820a-6b6c2202dd67" providerId="ADAL" clId="{27675839-2FA2-552B-B863-17B94EBDFF3D}" dt="2026-07-18T01:50:12.506" v="9423" actId="1076"/>
          <ac:cxnSpMkLst>
            <pc:docMk/>
            <pc:sldMk cId="1316500623" sldId="394"/>
            <ac:cxnSpMk id="53" creationId="{7AA9A512-376D-3D3E-AD36-C42A31FA8472}"/>
          </ac:cxnSpMkLst>
        </pc:cxnChg>
        <pc:cxnChg chg="add mod">
          <ac:chgData name="Chunyen Li (李 俊諺)" userId="40660eec-0f7d-4f76-820a-6b6c2202dd67" providerId="ADAL" clId="{27675839-2FA2-552B-B863-17B94EBDFF3D}" dt="2026-07-16T14:19:26.682" v="831" actId="14100"/>
          <ac:cxnSpMkLst>
            <pc:docMk/>
            <pc:sldMk cId="1316500623" sldId="394"/>
            <ac:cxnSpMk id="61" creationId="{AC1C5851-182C-0E9B-720C-AEA94CC67873}"/>
          </ac:cxnSpMkLst>
        </pc:cxnChg>
        <pc:cxnChg chg="add mod">
          <ac:chgData name="Chunyen Li (李 俊諺)" userId="40660eec-0f7d-4f76-820a-6b6c2202dd67" providerId="ADAL" clId="{27675839-2FA2-552B-B863-17B94EBDFF3D}" dt="2026-07-16T22:58:13.681" v="958" actId="1076"/>
          <ac:cxnSpMkLst>
            <pc:docMk/>
            <pc:sldMk cId="1316500623" sldId="394"/>
            <ac:cxnSpMk id="69" creationId="{5792F72F-296B-AE5B-E708-1C6BB698CACC}"/>
          </ac:cxnSpMkLst>
        </pc:cxnChg>
        <pc:cxnChg chg="add mod">
          <ac:chgData name="Chunyen Li (李 俊諺)" userId="40660eec-0f7d-4f76-820a-6b6c2202dd67" providerId="ADAL" clId="{27675839-2FA2-552B-B863-17B94EBDFF3D}" dt="2026-07-16T14:29:56.362" v="944" actId="14100"/>
          <ac:cxnSpMkLst>
            <pc:docMk/>
            <pc:sldMk cId="1316500623" sldId="394"/>
            <ac:cxnSpMk id="76" creationId="{1376CB8D-0A6C-CAC7-DE36-ACD96FA8424F}"/>
          </ac:cxnSpMkLst>
        </pc:cxnChg>
        <pc:cxnChg chg="add mod">
          <ac:chgData name="Chunyen Li (李 俊諺)" userId="40660eec-0f7d-4f76-820a-6b6c2202dd67" providerId="ADAL" clId="{27675839-2FA2-552B-B863-17B94EBDFF3D}" dt="2026-07-16T23:37:58.425" v="1312" actId="1036"/>
          <ac:cxnSpMkLst>
            <pc:docMk/>
            <pc:sldMk cId="1316500623" sldId="394"/>
            <ac:cxnSpMk id="92" creationId="{72A35899-1229-D623-F707-497156E08F28}"/>
          </ac:cxnSpMkLst>
        </pc:cxnChg>
        <pc:cxnChg chg="add mod">
          <ac:chgData name="Chunyen Li (李 俊諺)" userId="40660eec-0f7d-4f76-820a-6b6c2202dd67" providerId="ADAL" clId="{27675839-2FA2-552B-B863-17B94EBDFF3D}" dt="2026-07-18T01:51:36.621" v="9453" actId="14100"/>
          <ac:cxnSpMkLst>
            <pc:docMk/>
            <pc:sldMk cId="1316500623" sldId="394"/>
            <ac:cxnSpMk id="100" creationId="{5F7BCDA7-D5E4-28A7-A724-C751B77E773C}"/>
          </ac:cxnSpMkLst>
        </pc:cxnChg>
      </pc:sldChg>
      <pc:sldChg chg="addSp delSp modSp add del mod">
        <pc:chgData name="Chunyen Li (李 俊諺)" userId="40660eec-0f7d-4f76-820a-6b6c2202dd67" providerId="ADAL" clId="{27675839-2FA2-552B-B863-17B94EBDFF3D}" dt="2026-07-17T00:55:58.135" v="2064" actId="2696"/>
        <pc:sldMkLst>
          <pc:docMk/>
          <pc:sldMk cId="3110685900" sldId="395"/>
        </pc:sldMkLst>
        <pc:spChg chg="mod">
          <ac:chgData name="Chunyen Li (李 俊諺)" userId="40660eec-0f7d-4f76-820a-6b6c2202dd67" providerId="ADAL" clId="{27675839-2FA2-552B-B863-17B94EBDFF3D}" dt="2026-07-17T00:43:11.139" v="1903" actId="20577"/>
          <ac:spMkLst>
            <pc:docMk/>
            <pc:sldMk cId="3110685900" sldId="395"/>
            <ac:spMk id="2" creationId="{D12AECEE-02C4-0AFB-83CD-0EB0A86CB166}"/>
          </ac:spMkLst>
        </pc:spChg>
        <pc:spChg chg="mod">
          <ac:chgData name="Chunyen Li (李 俊諺)" userId="40660eec-0f7d-4f76-820a-6b6c2202dd67" providerId="ADAL" clId="{27675839-2FA2-552B-B863-17B94EBDFF3D}" dt="2026-07-17T00:01:48.337" v="1511"/>
          <ac:spMkLst>
            <pc:docMk/>
            <pc:sldMk cId="3110685900" sldId="395"/>
            <ac:spMk id="11" creationId="{B3D2E97E-0461-36D1-3F16-5F1AA2C6B716}"/>
          </ac:spMkLst>
        </pc:spChg>
        <pc:spChg chg="mod">
          <ac:chgData name="Chunyen Li (李 俊諺)" userId="40660eec-0f7d-4f76-820a-6b6c2202dd67" providerId="ADAL" clId="{27675839-2FA2-552B-B863-17B94EBDFF3D}" dt="2026-07-17T00:01:48.337" v="1511"/>
          <ac:spMkLst>
            <pc:docMk/>
            <pc:sldMk cId="3110685900" sldId="395"/>
            <ac:spMk id="49" creationId="{53F2750F-AC4B-686E-4B11-8F5B52446919}"/>
          </ac:spMkLst>
        </pc:spChg>
        <pc:spChg chg="mod">
          <ac:chgData name="Chunyen Li (李 俊諺)" userId="40660eec-0f7d-4f76-820a-6b6c2202dd67" providerId="ADAL" clId="{27675839-2FA2-552B-B863-17B94EBDFF3D}" dt="2026-07-17T00:01:48.337" v="1511"/>
          <ac:spMkLst>
            <pc:docMk/>
            <pc:sldMk cId="3110685900" sldId="395"/>
            <ac:spMk id="66" creationId="{4433F311-5D78-0E77-39EC-943BFCB83053}"/>
          </ac:spMkLst>
        </pc:spChg>
        <pc:spChg chg="mod">
          <ac:chgData name="Chunyen Li (李 俊諺)" userId="40660eec-0f7d-4f76-820a-6b6c2202dd67" providerId="ADAL" clId="{27675839-2FA2-552B-B863-17B94EBDFF3D}" dt="2026-07-17T00:01:48.337" v="1511"/>
          <ac:spMkLst>
            <pc:docMk/>
            <pc:sldMk cId="3110685900" sldId="395"/>
            <ac:spMk id="94" creationId="{D9337B5C-2DF3-DCFA-D233-C906EB370611}"/>
          </ac:spMkLst>
        </pc:spChg>
        <pc:spChg chg="mod">
          <ac:chgData name="Chunyen Li (李 俊諺)" userId="40660eec-0f7d-4f76-820a-6b6c2202dd67" providerId="ADAL" clId="{27675839-2FA2-552B-B863-17B94EBDFF3D}" dt="2026-07-17T00:01:48.337" v="1511"/>
          <ac:spMkLst>
            <pc:docMk/>
            <pc:sldMk cId="3110685900" sldId="395"/>
            <ac:spMk id="102" creationId="{65995261-B0E6-6C7C-1DC3-9D5A4FE52DDC}"/>
          </ac:spMkLst>
        </pc:spChg>
        <pc:spChg chg="mod">
          <ac:chgData name="Chunyen Li (李 俊諺)" userId="40660eec-0f7d-4f76-820a-6b6c2202dd67" providerId="ADAL" clId="{27675839-2FA2-552B-B863-17B94EBDFF3D}" dt="2026-07-17T00:01:48.337" v="1511"/>
          <ac:spMkLst>
            <pc:docMk/>
            <pc:sldMk cId="3110685900" sldId="395"/>
            <ac:spMk id="110" creationId="{6A183209-EED8-6B75-0A74-B5051FC02124}"/>
          </ac:spMkLst>
        </pc:spChg>
        <pc:spChg chg="mod">
          <ac:chgData name="Chunyen Li (李 俊諺)" userId="40660eec-0f7d-4f76-820a-6b6c2202dd67" providerId="ADAL" clId="{27675839-2FA2-552B-B863-17B94EBDFF3D}" dt="2026-07-17T00:01:48.337" v="1511"/>
          <ac:spMkLst>
            <pc:docMk/>
            <pc:sldMk cId="3110685900" sldId="395"/>
            <ac:spMk id="119" creationId="{CB397719-79B2-F0BD-7902-2DD1CF1A035D}"/>
          </ac:spMkLst>
        </pc:spChg>
        <pc:spChg chg="mod">
          <ac:chgData name="Chunyen Li (李 俊諺)" userId="40660eec-0f7d-4f76-820a-6b6c2202dd67" providerId="ADAL" clId="{27675839-2FA2-552B-B863-17B94EBDFF3D}" dt="2026-07-17T00:01:48.337" v="1511"/>
          <ac:spMkLst>
            <pc:docMk/>
            <pc:sldMk cId="3110685900" sldId="395"/>
            <ac:spMk id="121" creationId="{C7C36783-AB1E-B40F-8D8C-B839A7F67D44}"/>
          </ac:spMkLst>
        </pc:spChg>
        <pc:spChg chg="mod">
          <ac:chgData name="Chunyen Li (李 俊諺)" userId="40660eec-0f7d-4f76-820a-6b6c2202dd67" providerId="ADAL" clId="{27675839-2FA2-552B-B863-17B94EBDFF3D}" dt="2026-07-17T00:01:48.337" v="1511"/>
          <ac:spMkLst>
            <pc:docMk/>
            <pc:sldMk cId="3110685900" sldId="395"/>
            <ac:spMk id="134" creationId="{217965DE-01E5-5908-9B9C-4F55859B8660}"/>
          </ac:spMkLst>
        </pc:spChg>
        <pc:spChg chg="mod">
          <ac:chgData name="Chunyen Li (李 俊諺)" userId="40660eec-0f7d-4f76-820a-6b6c2202dd67" providerId="ADAL" clId="{27675839-2FA2-552B-B863-17B94EBDFF3D}" dt="2026-07-17T00:01:48.337" v="1511"/>
          <ac:spMkLst>
            <pc:docMk/>
            <pc:sldMk cId="3110685900" sldId="395"/>
            <ac:spMk id="145" creationId="{87F4F2FE-7C04-768E-9C6C-7699645647A5}"/>
          </ac:spMkLst>
        </pc:spChg>
        <pc:spChg chg="add mod">
          <ac:chgData name="Chunyen Li (李 俊諺)" userId="40660eec-0f7d-4f76-820a-6b6c2202dd67" providerId="ADAL" clId="{27675839-2FA2-552B-B863-17B94EBDFF3D}" dt="2026-07-17T00:34:42.438" v="1812" actId="1076"/>
          <ac:spMkLst>
            <pc:docMk/>
            <pc:sldMk cId="3110685900" sldId="395"/>
            <ac:spMk id="156" creationId="{FC143D0D-A796-84B9-EE5E-93E900C111CB}"/>
          </ac:spMkLst>
        </pc:spChg>
        <pc:spChg chg="add mod">
          <ac:chgData name="Chunyen Li (李 俊諺)" userId="40660eec-0f7d-4f76-820a-6b6c2202dd67" providerId="ADAL" clId="{27675839-2FA2-552B-B863-17B94EBDFF3D}" dt="2026-07-17T00:34:44.824" v="1813" actId="1076"/>
          <ac:spMkLst>
            <pc:docMk/>
            <pc:sldMk cId="3110685900" sldId="395"/>
            <ac:spMk id="157" creationId="{0F4DB1E9-D276-F4F2-5063-91C49009FA67}"/>
          </ac:spMkLst>
        </pc:spChg>
        <pc:spChg chg="add mod">
          <ac:chgData name="Chunyen Li (李 俊諺)" userId="40660eec-0f7d-4f76-820a-6b6c2202dd67" providerId="ADAL" clId="{27675839-2FA2-552B-B863-17B94EBDFF3D}" dt="2026-07-17T00:49:18.640" v="2024" actId="1076"/>
          <ac:spMkLst>
            <pc:docMk/>
            <pc:sldMk cId="3110685900" sldId="395"/>
            <ac:spMk id="160" creationId="{79CA5D91-F20A-16B2-5A85-4D01DFEBB0A6}"/>
          </ac:spMkLst>
        </pc:spChg>
        <pc:picChg chg="add del mod">
          <ac:chgData name="Chunyen Li (李 俊諺)" userId="40660eec-0f7d-4f76-820a-6b6c2202dd67" providerId="ADAL" clId="{27675839-2FA2-552B-B863-17B94EBDFF3D}" dt="2026-07-17T00:10:45.311" v="1533" actId="478"/>
          <ac:picMkLst>
            <pc:docMk/>
            <pc:sldMk cId="3110685900" sldId="395"/>
            <ac:picMk id="3" creationId="{00F3A167-5743-F069-AB57-C5B4801C55BA}"/>
          </ac:picMkLst>
        </pc:picChg>
        <pc:picChg chg="add del mod">
          <ac:chgData name="Chunyen Li (李 俊諺)" userId="40660eec-0f7d-4f76-820a-6b6c2202dd67" providerId="ADAL" clId="{27675839-2FA2-552B-B863-17B94EBDFF3D}" dt="2026-07-17T00:10:44.321" v="1532" actId="478"/>
          <ac:picMkLst>
            <pc:docMk/>
            <pc:sldMk cId="3110685900" sldId="395"/>
            <ac:picMk id="4" creationId="{FD85580E-A0B6-8017-6ED3-F6C7BD26FEF4}"/>
          </ac:picMkLst>
        </pc:picChg>
        <pc:picChg chg="add del mod">
          <ac:chgData name="Chunyen Li (李 俊諺)" userId="40660eec-0f7d-4f76-820a-6b6c2202dd67" providerId="ADAL" clId="{27675839-2FA2-552B-B863-17B94EBDFF3D}" dt="2026-07-17T00:01:39.913" v="1508" actId="478"/>
          <ac:picMkLst>
            <pc:docMk/>
            <pc:sldMk cId="3110685900" sldId="395"/>
            <ac:picMk id="5" creationId="{BFCD4626-C027-E3F0-E415-B63EC7DEABCC}"/>
          </ac:picMkLst>
        </pc:picChg>
        <pc:picChg chg="add del mod">
          <ac:chgData name="Chunyen Li (李 俊諺)" userId="40660eec-0f7d-4f76-820a-6b6c2202dd67" providerId="ADAL" clId="{27675839-2FA2-552B-B863-17B94EBDFF3D}" dt="2026-07-17T00:01:42.011" v="1509" actId="478"/>
          <ac:picMkLst>
            <pc:docMk/>
            <pc:sldMk cId="3110685900" sldId="395"/>
            <ac:picMk id="6" creationId="{FD1992E5-4C05-4919-01C4-8C47E33418AB}"/>
          </ac:picMkLst>
        </pc:picChg>
        <pc:picChg chg="add del mod">
          <ac:chgData name="Chunyen Li (李 俊諺)" userId="40660eec-0f7d-4f76-820a-6b6c2202dd67" providerId="ADAL" clId="{27675839-2FA2-552B-B863-17B94EBDFF3D}" dt="2026-07-17T00:03:04.329" v="1519" actId="478"/>
          <ac:picMkLst>
            <pc:docMk/>
            <pc:sldMk cId="3110685900" sldId="395"/>
            <ac:picMk id="149" creationId="{3B1D0969-136B-75CE-E3BC-31FF313E1D22}"/>
          </ac:picMkLst>
        </pc:picChg>
        <pc:picChg chg="add del mod">
          <ac:chgData name="Chunyen Li (李 俊諺)" userId="40660eec-0f7d-4f76-820a-6b6c2202dd67" providerId="ADAL" clId="{27675839-2FA2-552B-B863-17B94EBDFF3D}" dt="2026-07-17T00:43:18.489" v="1905" actId="478"/>
          <ac:picMkLst>
            <pc:docMk/>
            <pc:sldMk cId="3110685900" sldId="395"/>
            <ac:picMk id="151" creationId="{1D6BA7E2-E551-C113-3505-ECA6EC7608FC}"/>
          </ac:picMkLst>
        </pc:picChg>
        <pc:picChg chg="add del mod">
          <ac:chgData name="Chunyen Li (李 俊諺)" userId="40660eec-0f7d-4f76-820a-6b6c2202dd67" providerId="ADAL" clId="{27675839-2FA2-552B-B863-17B94EBDFF3D}" dt="2026-07-17T00:32:32.133" v="1549" actId="478"/>
          <ac:picMkLst>
            <pc:docMk/>
            <pc:sldMk cId="3110685900" sldId="395"/>
            <ac:picMk id="153" creationId="{3B014B0B-3426-A27E-8FCC-3EB583C76A6A}"/>
          </ac:picMkLst>
        </pc:picChg>
        <pc:picChg chg="add mod modCrop">
          <ac:chgData name="Chunyen Li (李 俊諺)" userId="40660eec-0f7d-4f76-820a-6b6c2202dd67" providerId="ADAL" clId="{27675839-2FA2-552B-B863-17B94EBDFF3D}" dt="2026-07-17T00:49:18.640" v="2024" actId="1076"/>
          <ac:picMkLst>
            <pc:docMk/>
            <pc:sldMk cId="3110685900" sldId="395"/>
            <ac:picMk id="155" creationId="{57E7D18B-B89D-ECA4-856F-7ABD1D72FE69}"/>
          </ac:picMkLst>
        </pc:picChg>
        <pc:picChg chg="add del mod">
          <ac:chgData name="Chunyen Li (李 俊諺)" userId="40660eec-0f7d-4f76-820a-6b6c2202dd67" providerId="ADAL" clId="{27675839-2FA2-552B-B863-17B94EBDFF3D}" dt="2026-07-17T00:43:17.946" v="1904" actId="478"/>
          <ac:picMkLst>
            <pc:docMk/>
            <pc:sldMk cId="3110685900" sldId="395"/>
            <ac:picMk id="158" creationId="{7C5EF689-6102-A085-E1CD-17A7735971D1}"/>
          </ac:picMkLst>
        </pc:picChg>
        <pc:picChg chg="add mod">
          <ac:chgData name="Chunyen Li (李 俊諺)" userId="40660eec-0f7d-4f76-820a-6b6c2202dd67" providerId="ADAL" clId="{27675839-2FA2-552B-B863-17B94EBDFF3D}" dt="2026-07-17T00:43:50.473" v="1918"/>
          <ac:picMkLst>
            <pc:docMk/>
            <pc:sldMk cId="3110685900" sldId="395"/>
            <ac:picMk id="159" creationId="{E65900EA-CDD8-A905-476D-F92BC47F1FAF}"/>
          </ac:picMkLst>
        </pc:picChg>
      </pc:sldChg>
      <pc:sldChg chg="addSp delSp modSp add mod">
        <pc:chgData name="Chunyen Li (李 俊諺)" userId="40660eec-0f7d-4f76-820a-6b6c2202dd67" providerId="ADAL" clId="{27675839-2FA2-552B-B863-17B94EBDFF3D}" dt="2026-07-18T03:04:41.263" v="9503" actId="207"/>
        <pc:sldMkLst>
          <pc:docMk/>
          <pc:sldMk cId="1873442337" sldId="396"/>
        </pc:sldMkLst>
        <pc:spChg chg="mod">
          <ac:chgData name="Chunyen Li (李 俊諺)" userId="40660eec-0f7d-4f76-820a-6b6c2202dd67" providerId="ADAL" clId="{27675839-2FA2-552B-B863-17B94EBDFF3D}" dt="2026-07-17T00:56:48.932" v="2080" actId="20577"/>
          <ac:spMkLst>
            <pc:docMk/>
            <pc:sldMk cId="1873442337" sldId="396"/>
            <ac:spMk id="2" creationId="{1D70C2BB-8A19-1730-D8F5-81FE9A0F16DE}"/>
          </ac:spMkLst>
        </pc:spChg>
        <pc:spChg chg="add mod">
          <ac:chgData name="Chunyen Li (李 俊諺)" userId="40660eec-0f7d-4f76-820a-6b6c2202dd67" providerId="ADAL" clId="{27675839-2FA2-552B-B863-17B94EBDFF3D}" dt="2026-07-17T02:01:27.979" v="2596" actId="14100"/>
          <ac:spMkLst>
            <pc:docMk/>
            <pc:sldMk cId="1873442337" sldId="396"/>
            <ac:spMk id="3" creationId="{42635BA9-B18E-99B7-FBB3-751F5FE972BA}"/>
          </ac:spMkLst>
        </pc:spChg>
        <pc:spChg chg="add mod">
          <ac:chgData name="Chunyen Li (李 俊諺)" userId="40660eec-0f7d-4f76-820a-6b6c2202dd67" providerId="ADAL" clId="{27675839-2FA2-552B-B863-17B94EBDFF3D}" dt="2026-07-17T02:01:24.378" v="2595" actId="14100"/>
          <ac:spMkLst>
            <pc:docMk/>
            <pc:sldMk cId="1873442337" sldId="396"/>
            <ac:spMk id="4" creationId="{1523F0B7-4C43-2D70-E09A-36A8EB1DC392}"/>
          </ac:spMkLst>
        </pc:spChg>
        <pc:spChg chg="add mod">
          <ac:chgData name="Chunyen Li (李 俊諺)" userId="40660eec-0f7d-4f76-820a-6b6c2202dd67" providerId="ADAL" clId="{27675839-2FA2-552B-B863-17B94EBDFF3D}" dt="2026-07-18T03:03:02.459" v="9471" actId="14100"/>
          <ac:spMkLst>
            <pc:docMk/>
            <pc:sldMk cId="1873442337" sldId="396"/>
            <ac:spMk id="8" creationId="{9EB12323-25E9-6120-BF1A-89CE088DA0B9}"/>
          </ac:spMkLst>
        </pc:spChg>
        <pc:spChg chg="add mod">
          <ac:chgData name="Chunyen Li (李 俊諺)" userId="40660eec-0f7d-4f76-820a-6b6c2202dd67" providerId="ADAL" clId="{27675839-2FA2-552B-B863-17B94EBDFF3D}" dt="2026-07-17T02:11:00.245" v="2663" actId="1076"/>
          <ac:spMkLst>
            <pc:docMk/>
            <pc:sldMk cId="1873442337" sldId="396"/>
            <ac:spMk id="9" creationId="{45F4671C-B344-7D48-F63C-9461A3666058}"/>
          </ac:spMkLst>
        </pc:spChg>
        <pc:spChg chg="add mod">
          <ac:chgData name="Chunyen Li (李 俊諺)" userId="40660eec-0f7d-4f76-820a-6b6c2202dd67" providerId="ADAL" clId="{27675839-2FA2-552B-B863-17B94EBDFF3D}" dt="2026-07-18T03:04:32.013" v="9497" actId="14100"/>
          <ac:spMkLst>
            <pc:docMk/>
            <pc:sldMk cId="1873442337" sldId="396"/>
            <ac:spMk id="10" creationId="{CC26254C-B346-76A4-9954-ED36FC1CCFFB}"/>
          </ac:spMkLst>
        </pc:spChg>
        <pc:spChg chg="add del mod">
          <ac:chgData name="Chunyen Li (李 俊諺)" userId="40660eec-0f7d-4f76-820a-6b6c2202dd67" providerId="ADAL" clId="{27675839-2FA2-552B-B863-17B94EBDFF3D}" dt="2026-07-17T02:14:42.827" v="2676" actId="478"/>
          <ac:spMkLst>
            <pc:docMk/>
            <pc:sldMk cId="1873442337" sldId="396"/>
            <ac:spMk id="12" creationId="{01349BE8-2C17-774C-EEB4-6F0A4482DA7E}"/>
          </ac:spMkLst>
        </pc:spChg>
        <pc:spChg chg="add del mod">
          <ac:chgData name="Chunyen Li (李 俊諺)" userId="40660eec-0f7d-4f76-820a-6b6c2202dd67" providerId="ADAL" clId="{27675839-2FA2-552B-B863-17B94EBDFF3D}" dt="2026-07-17T02:18:23.315" v="2686"/>
          <ac:spMkLst>
            <pc:docMk/>
            <pc:sldMk cId="1873442337" sldId="396"/>
            <ac:spMk id="13" creationId="{6381A3F9-886D-AE9B-9A5E-184653D19D7A}"/>
          </ac:spMkLst>
        </pc:spChg>
        <pc:spChg chg="mod">
          <ac:chgData name="Chunyen Li (李 俊諺)" userId="40660eec-0f7d-4f76-820a-6b6c2202dd67" providerId="ADAL" clId="{27675839-2FA2-552B-B863-17B94EBDFF3D}" dt="2026-07-17T21:24:41.995" v="8891" actId="113"/>
          <ac:spMkLst>
            <pc:docMk/>
            <pc:sldMk cId="1873442337" sldId="396"/>
            <ac:spMk id="14" creationId="{B30CFAEA-EC5D-8EF8-8284-313C58118193}"/>
          </ac:spMkLst>
        </pc:spChg>
        <pc:spChg chg="add del mod">
          <ac:chgData name="Chunyen Li (李 俊諺)" userId="40660eec-0f7d-4f76-820a-6b6c2202dd67" providerId="ADAL" clId="{27675839-2FA2-552B-B863-17B94EBDFF3D}" dt="2026-07-17T05:12:03.788" v="3968" actId="478"/>
          <ac:spMkLst>
            <pc:docMk/>
            <pc:sldMk cId="1873442337" sldId="396"/>
            <ac:spMk id="16" creationId="{061CAEDA-004B-A2F6-3B52-C748907A244A}"/>
          </ac:spMkLst>
        </pc:spChg>
        <pc:spChg chg="del">
          <ac:chgData name="Chunyen Li (李 俊諺)" userId="40660eec-0f7d-4f76-820a-6b6c2202dd67" providerId="ADAL" clId="{27675839-2FA2-552B-B863-17B94EBDFF3D}" dt="2026-07-17T02:28:25.904" v="2758" actId="478"/>
          <ac:spMkLst>
            <pc:docMk/>
            <pc:sldMk cId="1873442337" sldId="396"/>
            <ac:spMk id="17" creationId="{2A732068-2596-1584-0620-025639CB65ED}"/>
          </ac:spMkLst>
        </pc:spChg>
        <pc:spChg chg="add mod">
          <ac:chgData name="Chunyen Li (李 俊諺)" userId="40660eec-0f7d-4f76-820a-6b6c2202dd67" providerId="ADAL" clId="{27675839-2FA2-552B-B863-17B94EBDFF3D}" dt="2026-07-17T05:12:00.398" v="3966" actId="1076"/>
          <ac:spMkLst>
            <pc:docMk/>
            <pc:sldMk cId="1873442337" sldId="396"/>
            <ac:spMk id="19" creationId="{76C52CA3-3359-28EE-A905-D5999ED9D2B1}"/>
          </ac:spMkLst>
        </pc:spChg>
        <pc:spChg chg="add mod">
          <ac:chgData name="Chunyen Li (李 俊諺)" userId="40660eec-0f7d-4f76-820a-6b6c2202dd67" providerId="ADAL" clId="{27675839-2FA2-552B-B863-17B94EBDFF3D}" dt="2026-07-18T03:03:44.326" v="9482" actId="1076"/>
          <ac:spMkLst>
            <pc:docMk/>
            <pc:sldMk cId="1873442337" sldId="396"/>
            <ac:spMk id="21" creationId="{3CEDBB59-CE2B-2F7A-66EB-33A492457F8A}"/>
          </ac:spMkLst>
        </pc:spChg>
        <pc:spChg chg="add mod">
          <ac:chgData name="Chunyen Li (李 俊諺)" userId="40660eec-0f7d-4f76-820a-6b6c2202dd67" providerId="ADAL" clId="{27675839-2FA2-552B-B863-17B94EBDFF3D}" dt="2026-07-18T03:03:40.180" v="9481" actId="1076"/>
          <ac:spMkLst>
            <pc:docMk/>
            <pc:sldMk cId="1873442337" sldId="396"/>
            <ac:spMk id="22" creationId="{8552082C-BE78-D31D-D0DB-A9B9313EB04C}"/>
          </ac:spMkLst>
        </pc:spChg>
        <pc:spChg chg="add mod">
          <ac:chgData name="Chunyen Li (李 俊諺)" userId="40660eec-0f7d-4f76-820a-6b6c2202dd67" providerId="ADAL" clId="{27675839-2FA2-552B-B863-17B94EBDFF3D}" dt="2026-07-18T03:04:41.263" v="9503" actId="207"/>
          <ac:spMkLst>
            <pc:docMk/>
            <pc:sldMk cId="1873442337" sldId="396"/>
            <ac:spMk id="23" creationId="{37D1EA76-4EE6-6FF4-3907-2246578F12F7}"/>
          </ac:spMkLst>
        </pc:spChg>
        <pc:spChg chg="mod">
          <ac:chgData name="Chunyen Li (李 俊諺)" userId="40660eec-0f7d-4f76-820a-6b6c2202dd67" providerId="ADAL" clId="{27675839-2FA2-552B-B863-17B94EBDFF3D}" dt="2026-07-17T02:11:45.349" v="2668" actId="14100"/>
          <ac:spMkLst>
            <pc:docMk/>
            <pc:sldMk cId="1873442337" sldId="396"/>
            <ac:spMk id="91" creationId="{6008086F-91CA-0C9E-09E3-B1D6DD6199AA}"/>
          </ac:spMkLst>
        </pc:spChg>
        <pc:spChg chg="del">
          <ac:chgData name="Chunyen Li (李 俊諺)" userId="40660eec-0f7d-4f76-820a-6b6c2202dd67" providerId="ADAL" clId="{27675839-2FA2-552B-B863-17B94EBDFF3D}" dt="2026-07-17T02:28:23.887" v="2757" actId="478"/>
          <ac:spMkLst>
            <pc:docMk/>
            <pc:sldMk cId="1873442337" sldId="396"/>
            <ac:spMk id="156" creationId="{C93927D9-A83B-2E27-C6D0-5DECBAB321D9}"/>
          </ac:spMkLst>
        </pc:spChg>
        <pc:spChg chg="del">
          <ac:chgData name="Chunyen Li (李 俊諺)" userId="40660eec-0f7d-4f76-820a-6b6c2202dd67" providerId="ADAL" clId="{27675839-2FA2-552B-B863-17B94EBDFF3D}" dt="2026-07-17T02:28:21.180" v="2756" actId="478"/>
          <ac:spMkLst>
            <pc:docMk/>
            <pc:sldMk cId="1873442337" sldId="396"/>
            <ac:spMk id="157" creationId="{DD64122B-134F-4247-8FF0-926FBF6656A1}"/>
          </ac:spMkLst>
        </pc:spChg>
        <pc:grpChg chg="add mod">
          <ac:chgData name="Chunyen Li (李 俊諺)" userId="40660eec-0f7d-4f76-820a-6b6c2202dd67" providerId="ADAL" clId="{27675839-2FA2-552B-B863-17B94EBDFF3D}" dt="2026-07-18T03:04:28.779" v="9496" actId="1076"/>
          <ac:grpSpMkLst>
            <pc:docMk/>
            <pc:sldMk cId="1873442337" sldId="396"/>
            <ac:grpSpMk id="5" creationId="{940E3899-DCFE-5BB5-2F86-4C887F733655}"/>
          </ac:grpSpMkLst>
        </pc:grpChg>
        <pc:picChg chg="add del mod">
          <ac:chgData name="Chunyen Li (李 俊諺)" userId="40660eec-0f7d-4f76-820a-6b6c2202dd67" providerId="ADAL" clId="{27675839-2FA2-552B-B863-17B94EBDFF3D}" dt="2026-07-18T03:02:55.994" v="9469" actId="1076"/>
          <ac:picMkLst>
            <pc:docMk/>
            <pc:sldMk cId="1873442337" sldId="396"/>
            <ac:picMk id="6" creationId="{45B7E8CE-DCEA-10EE-47A1-C9466D54F588}"/>
          </ac:picMkLst>
        </pc:picChg>
        <pc:picChg chg="add mod modCrop">
          <ac:chgData name="Chunyen Li (李 俊諺)" userId="40660eec-0f7d-4f76-820a-6b6c2202dd67" providerId="ADAL" clId="{27675839-2FA2-552B-B863-17B94EBDFF3D}" dt="2026-07-17T02:11:53.379" v="2669" actId="1076"/>
          <ac:picMkLst>
            <pc:docMk/>
            <pc:sldMk cId="1873442337" sldId="396"/>
            <ac:picMk id="7" creationId="{5AEE323E-94AC-C95C-0D04-44E39912736A}"/>
          </ac:picMkLst>
        </pc:picChg>
        <pc:picChg chg="mod">
          <ac:chgData name="Chunyen Li (李 俊諺)" userId="40660eec-0f7d-4f76-820a-6b6c2202dd67" providerId="ADAL" clId="{27675839-2FA2-552B-B863-17B94EBDFF3D}" dt="2026-07-18T03:04:35.804" v="9500" actId="1076"/>
          <ac:picMkLst>
            <pc:docMk/>
            <pc:sldMk cId="1873442337" sldId="396"/>
            <ac:picMk id="151" creationId="{D26A0295-4DC6-BDD0-0981-25807EA29143}"/>
          </ac:picMkLst>
        </pc:picChg>
        <pc:picChg chg="del">
          <ac:chgData name="Chunyen Li (李 俊諺)" userId="40660eec-0f7d-4f76-820a-6b6c2202dd67" providerId="ADAL" clId="{27675839-2FA2-552B-B863-17B94EBDFF3D}" dt="2026-07-17T00:40:12.362" v="1836" actId="478"/>
          <ac:picMkLst>
            <pc:docMk/>
            <pc:sldMk cId="1873442337" sldId="396"/>
            <ac:picMk id="155" creationId="{6278CE15-6F8D-126B-8B00-9033ABEE1931}"/>
          </ac:picMkLst>
        </pc:picChg>
        <pc:picChg chg="mod modCrop">
          <ac:chgData name="Chunyen Li (李 俊諺)" userId="40660eec-0f7d-4f76-820a-6b6c2202dd67" providerId="ADAL" clId="{27675839-2FA2-552B-B863-17B94EBDFF3D}" dt="2026-07-17T02:01:19.856" v="2594" actId="732"/>
          <ac:picMkLst>
            <pc:docMk/>
            <pc:sldMk cId="1873442337" sldId="396"/>
            <ac:picMk id="158" creationId="{C91BC464-B406-B224-D0E1-D9ED411263AE}"/>
          </ac:picMkLst>
        </pc:picChg>
        <pc:cxnChg chg="del mod">
          <ac:chgData name="Chunyen Li (李 俊諺)" userId="40660eec-0f7d-4f76-820a-6b6c2202dd67" providerId="ADAL" clId="{27675839-2FA2-552B-B863-17B94EBDFF3D}" dt="2026-07-17T02:28:26.623" v="2760" actId="478"/>
          <ac:cxnSpMkLst>
            <pc:docMk/>
            <pc:sldMk cId="1873442337" sldId="396"/>
            <ac:cxnSpMk id="18" creationId="{611B45E2-7DF0-2C61-9517-56534A375DBD}"/>
          </ac:cxnSpMkLst>
        </pc:cxnChg>
        <pc:cxnChg chg="mod">
          <ac:chgData name="Chunyen Li (李 俊諺)" userId="40660eec-0f7d-4f76-820a-6b6c2202dd67" providerId="ADAL" clId="{27675839-2FA2-552B-B863-17B94EBDFF3D}" dt="2026-07-17T02:11:15.950" v="2666" actId="14100"/>
          <ac:cxnSpMkLst>
            <pc:docMk/>
            <pc:sldMk cId="1873442337" sldId="396"/>
            <ac:cxnSpMk id="92" creationId="{C4B81E7A-EB3A-ADF2-600E-3D42C5FB4EC2}"/>
          </ac:cxnSpMkLst>
        </pc:cxnChg>
      </pc:sldChg>
      <pc:sldChg chg="addSp delSp modSp add mod">
        <pc:chgData name="Chunyen Li (李 俊諺)" userId="40660eec-0f7d-4f76-820a-6b6c2202dd67" providerId="ADAL" clId="{27675839-2FA2-552B-B863-17B94EBDFF3D}" dt="2026-07-17T02:17:53.577" v="2682" actId="478"/>
        <pc:sldMkLst>
          <pc:docMk/>
          <pc:sldMk cId="3267311189" sldId="397"/>
        </pc:sldMkLst>
        <pc:spChg chg="mod">
          <ac:chgData name="Chunyen Li (李 俊諺)" userId="40660eec-0f7d-4f76-820a-6b6c2202dd67" providerId="ADAL" clId="{27675839-2FA2-552B-B863-17B94EBDFF3D}" dt="2026-07-17T00:56:20.690" v="2075" actId="14100"/>
          <ac:spMkLst>
            <pc:docMk/>
            <pc:sldMk cId="3267311189" sldId="397"/>
            <ac:spMk id="2" creationId="{AF910697-C717-615E-82F6-604597E3D30F}"/>
          </ac:spMkLst>
        </pc:spChg>
        <pc:spChg chg="mod">
          <ac:chgData name="Chunyen Li (李 俊諺)" userId="40660eec-0f7d-4f76-820a-6b6c2202dd67" providerId="ADAL" clId="{27675839-2FA2-552B-B863-17B94EBDFF3D}" dt="2026-07-17T01:57:23.118" v="2516" actId="20577"/>
          <ac:spMkLst>
            <pc:docMk/>
            <pc:sldMk cId="3267311189" sldId="397"/>
            <ac:spMk id="14" creationId="{610D0095-4545-0BAD-6D20-7208EF01DB02}"/>
          </ac:spMkLst>
        </pc:spChg>
        <pc:spChg chg="del">
          <ac:chgData name="Chunyen Li (李 俊諺)" userId="40660eec-0f7d-4f76-820a-6b6c2202dd67" providerId="ADAL" clId="{27675839-2FA2-552B-B863-17B94EBDFF3D}" dt="2026-07-17T02:17:51.632" v="2680" actId="478"/>
          <ac:spMkLst>
            <pc:docMk/>
            <pc:sldMk cId="3267311189" sldId="397"/>
            <ac:spMk id="17" creationId="{992D82D4-E1F2-CEF8-4CCC-CF75DEAA32FA}"/>
          </ac:spMkLst>
        </pc:spChg>
        <pc:spChg chg="del mod">
          <ac:chgData name="Chunyen Li (李 俊諺)" userId="40660eec-0f7d-4f76-820a-6b6c2202dd67" providerId="ADAL" clId="{27675839-2FA2-552B-B863-17B94EBDFF3D}" dt="2026-07-17T02:17:49.091" v="2678" actId="478"/>
          <ac:spMkLst>
            <pc:docMk/>
            <pc:sldMk cId="3267311189" sldId="397"/>
            <ac:spMk id="91" creationId="{2A22432C-3421-949B-48A9-C30E35DBE51A}"/>
          </ac:spMkLst>
        </pc:spChg>
        <pc:spChg chg="del">
          <ac:chgData name="Chunyen Li (李 俊諺)" userId="40660eec-0f7d-4f76-820a-6b6c2202dd67" providerId="ADAL" clId="{27675839-2FA2-552B-B863-17B94EBDFF3D}" dt="2026-07-17T02:17:53.577" v="2682" actId="478"/>
          <ac:spMkLst>
            <pc:docMk/>
            <pc:sldMk cId="3267311189" sldId="397"/>
            <ac:spMk id="156" creationId="{73AE784F-5273-8835-AB35-5370E9F25510}"/>
          </ac:spMkLst>
        </pc:spChg>
        <pc:spChg chg="del mod">
          <ac:chgData name="Chunyen Li (李 俊諺)" userId="40660eec-0f7d-4f76-820a-6b6c2202dd67" providerId="ADAL" clId="{27675839-2FA2-552B-B863-17B94EBDFF3D}" dt="2026-07-17T01:41:14.905" v="2155" actId="478"/>
          <ac:spMkLst>
            <pc:docMk/>
            <pc:sldMk cId="3267311189" sldId="397"/>
            <ac:spMk id="157" creationId="{713FF6D4-A95A-BB28-21F0-E9D412FDA5BD}"/>
          </ac:spMkLst>
        </pc:spChg>
        <pc:picChg chg="add mod">
          <ac:chgData name="Chunyen Li (李 俊諺)" userId="40660eec-0f7d-4f76-820a-6b6c2202dd67" providerId="ADAL" clId="{27675839-2FA2-552B-B863-17B94EBDFF3D}" dt="2026-07-17T01:41:21.787" v="2158" actId="1076"/>
          <ac:picMkLst>
            <pc:docMk/>
            <pc:sldMk cId="3267311189" sldId="397"/>
            <ac:picMk id="4" creationId="{1AB6668E-BCBF-927F-4E5F-3BC646F70716}"/>
          </ac:picMkLst>
        </pc:picChg>
        <pc:picChg chg="del">
          <ac:chgData name="Chunyen Li (李 俊諺)" userId="40660eec-0f7d-4f76-820a-6b6c2202dd67" providerId="ADAL" clId="{27675839-2FA2-552B-B863-17B94EBDFF3D}" dt="2026-07-17T00:43:55.331" v="1920" actId="478"/>
          <ac:picMkLst>
            <pc:docMk/>
            <pc:sldMk cId="3267311189" sldId="397"/>
            <ac:picMk id="155" creationId="{CDA4F4DF-74AD-3367-39EB-FE0577FC95D9}"/>
          </ac:picMkLst>
        </pc:picChg>
        <pc:cxnChg chg="del">
          <ac:chgData name="Chunyen Li (李 俊諺)" userId="40660eec-0f7d-4f76-820a-6b6c2202dd67" providerId="ADAL" clId="{27675839-2FA2-552B-B863-17B94EBDFF3D}" dt="2026-07-17T02:17:52.306" v="2681" actId="478"/>
          <ac:cxnSpMkLst>
            <pc:docMk/>
            <pc:sldMk cId="3267311189" sldId="397"/>
            <ac:cxnSpMk id="18" creationId="{88ABBD7D-206F-DA02-696F-CF107C5D53AE}"/>
          </ac:cxnSpMkLst>
        </pc:cxnChg>
        <pc:cxnChg chg="del">
          <ac:chgData name="Chunyen Li (李 俊諺)" userId="40660eec-0f7d-4f76-820a-6b6c2202dd67" providerId="ADAL" clId="{27675839-2FA2-552B-B863-17B94EBDFF3D}" dt="2026-07-17T02:17:50.545" v="2679" actId="478"/>
          <ac:cxnSpMkLst>
            <pc:docMk/>
            <pc:sldMk cId="3267311189" sldId="397"/>
            <ac:cxnSpMk id="92" creationId="{C2B10BD2-878D-258C-A1EC-9B0B01FB9206}"/>
          </ac:cxnSpMkLst>
        </pc:cxnChg>
      </pc:sldChg>
      <pc:sldChg chg="new del">
        <pc:chgData name="Chunyen Li (李 俊諺)" userId="40660eec-0f7d-4f76-820a-6b6c2202dd67" providerId="ADAL" clId="{27675839-2FA2-552B-B863-17B94EBDFF3D}" dt="2026-07-17T09:28:49.087" v="6524" actId="2696"/>
        <pc:sldMkLst>
          <pc:docMk/>
          <pc:sldMk cId="1100171591" sldId="398"/>
        </pc:sldMkLst>
      </pc:sldChg>
      <pc:sldChg chg="addSp delSp modSp add mod ord modNotesTx">
        <pc:chgData name="Chunyen Li (李 俊諺)" userId="40660eec-0f7d-4f76-820a-6b6c2202dd67" providerId="ADAL" clId="{27675839-2FA2-552B-B863-17B94EBDFF3D}" dt="2026-07-18T10:10:41.767" v="9515" actId="13926"/>
        <pc:sldMkLst>
          <pc:docMk/>
          <pc:sldMk cId="2737272235" sldId="399"/>
        </pc:sldMkLst>
        <pc:spChg chg="mod">
          <ac:chgData name="Chunyen Li (李 俊諺)" userId="40660eec-0f7d-4f76-820a-6b6c2202dd67" providerId="ADAL" clId="{27675839-2FA2-552B-B863-17B94EBDFF3D}" dt="2026-07-17T02:40:38.424" v="2850" actId="20577"/>
          <ac:spMkLst>
            <pc:docMk/>
            <pc:sldMk cId="2737272235" sldId="399"/>
            <ac:spMk id="2" creationId="{E4E659D0-2F87-0FD2-72A5-0EF51B124B96}"/>
          </ac:spMkLst>
        </pc:spChg>
        <pc:spChg chg="del">
          <ac:chgData name="Chunyen Li (李 俊諺)" userId="40660eec-0f7d-4f76-820a-6b6c2202dd67" providerId="ADAL" clId="{27675839-2FA2-552B-B863-17B94EBDFF3D}" dt="2026-07-17T02:28:11.181" v="2754" actId="478"/>
          <ac:spMkLst>
            <pc:docMk/>
            <pc:sldMk cId="2737272235" sldId="399"/>
            <ac:spMk id="8" creationId="{E581C2CC-534A-1D98-8B35-35DC2B500D67}"/>
          </ac:spMkLst>
        </pc:spChg>
        <pc:spChg chg="del">
          <ac:chgData name="Chunyen Li (李 俊諺)" userId="40660eec-0f7d-4f76-820a-6b6c2202dd67" providerId="ADAL" clId="{27675839-2FA2-552B-B863-17B94EBDFF3D}" dt="2026-07-17T02:28:11.181" v="2754" actId="478"/>
          <ac:spMkLst>
            <pc:docMk/>
            <pc:sldMk cId="2737272235" sldId="399"/>
            <ac:spMk id="9" creationId="{3A286189-6A75-F28C-225F-1DFB21843422}"/>
          </ac:spMkLst>
        </pc:spChg>
        <pc:spChg chg="del">
          <ac:chgData name="Chunyen Li (李 俊諺)" userId="40660eec-0f7d-4f76-820a-6b6c2202dd67" providerId="ADAL" clId="{27675839-2FA2-552B-B863-17B94EBDFF3D}" dt="2026-07-17T02:28:11.181" v="2754" actId="478"/>
          <ac:spMkLst>
            <pc:docMk/>
            <pc:sldMk cId="2737272235" sldId="399"/>
            <ac:spMk id="10" creationId="{939E901A-B996-C5A9-371F-F088E9BE6297}"/>
          </ac:spMkLst>
        </pc:spChg>
        <pc:spChg chg="del">
          <ac:chgData name="Chunyen Li (李 俊諺)" userId="40660eec-0f7d-4f76-820a-6b6c2202dd67" providerId="ADAL" clId="{27675839-2FA2-552B-B863-17B94EBDFF3D}" dt="2026-07-17T02:28:11.181" v="2754" actId="478"/>
          <ac:spMkLst>
            <pc:docMk/>
            <pc:sldMk cId="2737272235" sldId="399"/>
            <ac:spMk id="12" creationId="{51BB6BD0-8302-C778-7D2E-411D8B6B5718}"/>
          </ac:spMkLst>
        </pc:spChg>
        <pc:spChg chg="del mod">
          <ac:chgData name="Chunyen Li (李 俊諺)" userId="40660eec-0f7d-4f76-820a-6b6c2202dd67" providerId="ADAL" clId="{27675839-2FA2-552B-B863-17B94EBDFF3D}" dt="2026-07-17T03:21:54.370" v="3517" actId="478"/>
          <ac:spMkLst>
            <pc:docMk/>
            <pc:sldMk cId="2737272235" sldId="399"/>
            <ac:spMk id="14" creationId="{106C0656-57B0-FEF8-55A9-544B2B9D5382}"/>
          </ac:spMkLst>
        </pc:spChg>
        <pc:spChg chg="del">
          <ac:chgData name="Chunyen Li (李 俊諺)" userId="40660eec-0f7d-4f76-820a-6b6c2202dd67" providerId="ADAL" clId="{27675839-2FA2-552B-B863-17B94EBDFF3D}" dt="2026-07-17T04:39:30.674" v="3730" actId="478"/>
          <ac:spMkLst>
            <pc:docMk/>
            <pc:sldMk cId="2737272235" sldId="399"/>
            <ac:spMk id="17" creationId="{8064A1B3-BF76-1F9C-4DA3-17791742871D}"/>
          </ac:spMkLst>
        </pc:spChg>
        <pc:spChg chg="add mod">
          <ac:chgData name="Chunyen Li (李 俊諺)" userId="40660eec-0f7d-4f76-820a-6b6c2202dd67" providerId="ADAL" clId="{27675839-2FA2-552B-B863-17B94EBDFF3D}" dt="2026-07-18T10:07:21.217" v="9513" actId="14100"/>
          <ac:spMkLst>
            <pc:docMk/>
            <pc:sldMk cId="2737272235" sldId="399"/>
            <ac:spMk id="22" creationId="{8B1223DE-0570-B2C8-954F-72F063D3AD6E}"/>
          </ac:spMkLst>
        </pc:spChg>
        <pc:spChg chg="add mod">
          <ac:chgData name="Chunyen Li (李 俊諺)" userId="40660eec-0f7d-4f76-820a-6b6c2202dd67" providerId="ADAL" clId="{27675839-2FA2-552B-B863-17B94EBDFF3D}" dt="2026-07-17T02:58:12.674" v="2968" actId="1076"/>
          <ac:spMkLst>
            <pc:docMk/>
            <pc:sldMk cId="2737272235" sldId="399"/>
            <ac:spMk id="24" creationId="{B5700B31-A562-2857-6AFC-ACB45D02F8D5}"/>
          </ac:spMkLst>
        </pc:spChg>
        <pc:spChg chg="add mod">
          <ac:chgData name="Chunyen Li (李 俊諺)" userId="40660eec-0f7d-4f76-820a-6b6c2202dd67" providerId="ADAL" clId="{27675839-2FA2-552B-B863-17B94EBDFF3D}" dt="2026-07-17T03:35:59.595" v="3634" actId="255"/>
          <ac:spMkLst>
            <pc:docMk/>
            <pc:sldMk cId="2737272235" sldId="399"/>
            <ac:spMk id="27" creationId="{080ED8E6-12D2-0DCC-8BEE-A57480C93F7B}"/>
          </ac:spMkLst>
        </pc:spChg>
        <pc:spChg chg="add mod">
          <ac:chgData name="Chunyen Li (李 俊諺)" userId="40660eec-0f7d-4f76-820a-6b6c2202dd67" providerId="ADAL" clId="{27675839-2FA2-552B-B863-17B94EBDFF3D}" dt="2026-07-17T03:36:05.267" v="3635" actId="255"/>
          <ac:spMkLst>
            <pc:docMk/>
            <pc:sldMk cId="2737272235" sldId="399"/>
            <ac:spMk id="28" creationId="{9AA23B31-E825-2656-0241-6BC65491030B}"/>
          </ac:spMkLst>
        </pc:spChg>
        <pc:spChg chg="add mod">
          <ac:chgData name="Chunyen Li (李 俊諺)" userId="40660eec-0f7d-4f76-820a-6b6c2202dd67" providerId="ADAL" clId="{27675839-2FA2-552B-B863-17B94EBDFF3D}" dt="2026-07-17T03:36:10.138" v="3636" actId="255"/>
          <ac:spMkLst>
            <pc:docMk/>
            <pc:sldMk cId="2737272235" sldId="399"/>
            <ac:spMk id="29" creationId="{9C4814F0-C303-7825-D9D1-C48CB24B2D8D}"/>
          </ac:spMkLst>
        </pc:spChg>
        <pc:spChg chg="add mod">
          <ac:chgData name="Chunyen Li (李 俊諺)" userId="40660eec-0f7d-4f76-820a-6b6c2202dd67" providerId="ADAL" clId="{27675839-2FA2-552B-B863-17B94EBDFF3D}" dt="2026-07-17T03:35:32.819" v="3633" actId="1076"/>
          <ac:spMkLst>
            <pc:docMk/>
            <pc:sldMk cId="2737272235" sldId="399"/>
            <ac:spMk id="30" creationId="{C42929D2-48E7-13AC-2F20-934928664B87}"/>
          </ac:spMkLst>
        </pc:spChg>
        <pc:spChg chg="add mod">
          <ac:chgData name="Chunyen Li (李 俊諺)" userId="40660eec-0f7d-4f76-820a-6b6c2202dd67" providerId="ADAL" clId="{27675839-2FA2-552B-B863-17B94EBDFF3D}" dt="2026-07-18T10:10:41.767" v="9515" actId="13926"/>
          <ac:spMkLst>
            <pc:docMk/>
            <pc:sldMk cId="2737272235" sldId="399"/>
            <ac:spMk id="31" creationId="{812385DC-73B3-528C-A753-0BC986A0478C}"/>
          </ac:spMkLst>
        </pc:spChg>
        <pc:spChg chg="add mod">
          <ac:chgData name="Chunyen Li (李 俊諺)" userId="40660eec-0f7d-4f76-820a-6b6c2202dd67" providerId="ADAL" clId="{27675839-2FA2-552B-B863-17B94EBDFF3D}" dt="2026-07-17T03:36:15.143" v="3637" actId="255"/>
          <ac:spMkLst>
            <pc:docMk/>
            <pc:sldMk cId="2737272235" sldId="399"/>
            <ac:spMk id="35" creationId="{BBD54D24-F6DD-DA13-73B0-C1217F8DE71A}"/>
          </ac:spMkLst>
        </pc:spChg>
        <pc:spChg chg="add mod">
          <ac:chgData name="Chunyen Li (李 俊諺)" userId="40660eec-0f7d-4f76-820a-6b6c2202dd67" providerId="ADAL" clId="{27675839-2FA2-552B-B863-17B94EBDFF3D}" dt="2026-07-17T03:17:57.793" v="3361"/>
          <ac:spMkLst>
            <pc:docMk/>
            <pc:sldMk cId="2737272235" sldId="399"/>
            <ac:spMk id="36" creationId="{190F4954-A525-38F4-6737-99E51E77062C}"/>
          </ac:spMkLst>
        </pc:spChg>
        <pc:spChg chg="add del mod">
          <ac:chgData name="Chunyen Li (李 俊諺)" userId="40660eec-0f7d-4f76-820a-6b6c2202dd67" providerId="ADAL" clId="{27675839-2FA2-552B-B863-17B94EBDFF3D}" dt="2026-07-17T03:18:20.456" v="3368" actId="478"/>
          <ac:spMkLst>
            <pc:docMk/>
            <pc:sldMk cId="2737272235" sldId="399"/>
            <ac:spMk id="37" creationId="{47EFB11B-CCAF-5284-895D-79EF3DA483C8}"/>
          </ac:spMkLst>
        </pc:spChg>
        <pc:spChg chg="add mod">
          <ac:chgData name="Chunyen Li (李 俊諺)" userId="40660eec-0f7d-4f76-820a-6b6c2202dd67" providerId="ADAL" clId="{27675839-2FA2-552B-B863-17B94EBDFF3D}" dt="2026-07-17T03:23:26.840" v="3531" actId="20577"/>
          <ac:spMkLst>
            <pc:docMk/>
            <pc:sldMk cId="2737272235" sldId="399"/>
            <ac:spMk id="38" creationId="{B9F7BAFD-2586-9FD3-1370-20E575A03CC8}"/>
          </ac:spMkLst>
        </pc:spChg>
        <pc:spChg chg="add del mod">
          <ac:chgData name="Chunyen Li (李 俊諺)" userId="40660eec-0f7d-4f76-820a-6b6c2202dd67" providerId="ADAL" clId="{27675839-2FA2-552B-B863-17B94EBDFF3D}" dt="2026-07-17T03:22:01.428" v="3518" actId="478"/>
          <ac:spMkLst>
            <pc:docMk/>
            <pc:sldMk cId="2737272235" sldId="399"/>
            <ac:spMk id="40" creationId="{A7E7EAD0-2E78-DC8B-D782-A341FBF505A2}"/>
          </ac:spMkLst>
        </pc:spChg>
        <pc:spChg chg="add mod">
          <ac:chgData name="Chunyen Li (李 俊諺)" userId="40660eec-0f7d-4f76-820a-6b6c2202dd67" providerId="ADAL" clId="{27675839-2FA2-552B-B863-17B94EBDFF3D}" dt="2026-07-17T03:37:10.498" v="3657" actId="1076"/>
          <ac:spMkLst>
            <pc:docMk/>
            <pc:sldMk cId="2737272235" sldId="399"/>
            <ac:spMk id="41" creationId="{39530192-E5B0-1BD0-60CF-6709A7C2F0E8}"/>
          </ac:spMkLst>
        </pc:spChg>
        <pc:spChg chg="mod">
          <ac:chgData name="Chunyen Li (李 俊諺)" userId="40660eec-0f7d-4f76-820a-6b6c2202dd67" providerId="ADAL" clId="{27675839-2FA2-552B-B863-17B94EBDFF3D}" dt="2026-07-17T03:24:22.631" v="3581" actId="20577"/>
          <ac:spMkLst>
            <pc:docMk/>
            <pc:sldMk cId="2737272235" sldId="399"/>
            <ac:spMk id="91" creationId="{C382146C-EF1B-370D-B661-71BB758D43A0}"/>
          </ac:spMkLst>
        </pc:spChg>
        <pc:spChg chg="del">
          <ac:chgData name="Chunyen Li (李 俊諺)" userId="40660eec-0f7d-4f76-820a-6b6c2202dd67" providerId="ADAL" clId="{27675839-2FA2-552B-B863-17B94EBDFF3D}" dt="2026-07-17T02:40:50.820" v="2852" actId="478"/>
          <ac:spMkLst>
            <pc:docMk/>
            <pc:sldMk cId="2737272235" sldId="399"/>
            <ac:spMk id="156" creationId="{89790A58-921C-6E49-3AE8-68729197A2A7}"/>
          </ac:spMkLst>
        </pc:spChg>
        <pc:spChg chg="del">
          <ac:chgData name="Chunyen Li (李 俊諺)" userId="40660eec-0f7d-4f76-820a-6b6c2202dd67" providerId="ADAL" clId="{27675839-2FA2-552B-B863-17B94EBDFF3D}" dt="2026-07-17T02:40:49.568" v="2851" actId="478"/>
          <ac:spMkLst>
            <pc:docMk/>
            <pc:sldMk cId="2737272235" sldId="399"/>
            <ac:spMk id="157" creationId="{2642BB47-30A7-092F-5844-8F40A9796F5A}"/>
          </ac:spMkLst>
        </pc:spChg>
        <pc:grpChg chg="del">
          <ac:chgData name="Chunyen Li (李 俊諺)" userId="40660eec-0f7d-4f76-820a-6b6c2202dd67" providerId="ADAL" clId="{27675839-2FA2-552B-B863-17B94EBDFF3D}" dt="2026-07-17T02:28:11.181" v="2754" actId="478"/>
          <ac:grpSpMkLst>
            <pc:docMk/>
            <pc:sldMk cId="2737272235" sldId="399"/>
            <ac:grpSpMk id="5" creationId="{F3A77DA9-5D16-6B94-E2E1-044FF696C1AF}"/>
          </ac:grpSpMkLst>
        </pc:grpChg>
        <pc:grpChg chg="add mod">
          <ac:chgData name="Chunyen Li (李 俊諺)" userId="40660eec-0f7d-4f76-820a-6b6c2202dd67" providerId="ADAL" clId="{27675839-2FA2-552B-B863-17B94EBDFF3D}" dt="2026-07-17T03:03:25.493" v="3009" actId="14100"/>
          <ac:grpSpMkLst>
            <pc:docMk/>
            <pc:sldMk cId="2737272235" sldId="399"/>
            <ac:grpSpMk id="25" creationId="{AD540C8F-588E-BB91-923A-5150A6912A0D}"/>
          </ac:grpSpMkLst>
        </pc:grpChg>
        <pc:grpChg chg="add mod">
          <ac:chgData name="Chunyen Li (李 俊諺)" userId="40660eec-0f7d-4f76-820a-6b6c2202dd67" providerId="ADAL" clId="{27675839-2FA2-552B-B863-17B94EBDFF3D}" dt="2026-07-17T03:07:26.560" v="3048"/>
          <ac:grpSpMkLst>
            <pc:docMk/>
            <pc:sldMk cId="2737272235" sldId="399"/>
            <ac:grpSpMk id="32" creationId="{FF8497B6-FAC3-EB0A-FFF3-AB65F66EADB0}"/>
          </ac:grpSpMkLst>
        </pc:grpChg>
        <pc:picChg chg="add mod">
          <ac:chgData name="Chunyen Li (李 俊諺)" userId="40660eec-0f7d-4f76-820a-6b6c2202dd67" providerId="ADAL" clId="{27675839-2FA2-552B-B863-17B94EBDFF3D}" dt="2026-07-18T10:07:05.015" v="9508" actId="1076"/>
          <ac:picMkLst>
            <pc:docMk/>
            <pc:sldMk cId="2737272235" sldId="399"/>
            <ac:picMk id="3" creationId="{9BD27F04-2258-D7A8-E3EA-320F1245AF21}"/>
          </ac:picMkLst>
        </pc:picChg>
        <pc:picChg chg="del">
          <ac:chgData name="Chunyen Li (李 俊諺)" userId="40660eec-0f7d-4f76-820a-6b6c2202dd67" providerId="ADAL" clId="{27675839-2FA2-552B-B863-17B94EBDFF3D}" dt="2026-07-17T02:28:11.181" v="2754" actId="478"/>
          <ac:picMkLst>
            <pc:docMk/>
            <pc:sldMk cId="2737272235" sldId="399"/>
            <ac:picMk id="6" creationId="{DD6A8D8F-5219-9E81-C19F-DE81E1D95F8B}"/>
          </ac:picMkLst>
        </pc:picChg>
        <pc:picChg chg="del">
          <ac:chgData name="Chunyen Li (李 俊諺)" userId="40660eec-0f7d-4f76-820a-6b6c2202dd67" providerId="ADAL" clId="{27675839-2FA2-552B-B863-17B94EBDFF3D}" dt="2026-07-17T02:28:11.181" v="2754" actId="478"/>
          <ac:picMkLst>
            <pc:docMk/>
            <pc:sldMk cId="2737272235" sldId="399"/>
            <ac:picMk id="7" creationId="{8DFC9AD5-AC46-CA05-A56E-E6E462571FBA}"/>
          </ac:picMkLst>
        </pc:picChg>
        <pc:picChg chg="add del mod">
          <ac:chgData name="Chunyen Li (李 俊諺)" userId="40660eec-0f7d-4f76-820a-6b6c2202dd67" providerId="ADAL" clId="{27675839-2FA2-552B-B863-17B94EBDFF3D}" dt="2026-07-17T03:21:50.256" v="3516" actId="478"/>
          <ac:picMkLst>
            <pc:docMk/>
            <pc:sldMk cId="2737272235" sldId="399"/>
            <ac:picMk id="11" creationId="{90C68D78-7D13-56F0-DBAB-1EA779C7961B}"/>
          </ac:picMkLst>
        </pc:picChg>
        <pc:picChg chg="add mod modCrop">
          <ac:chgData name="Chunyen Li (李 俊諺)" userId="40660eec-0f7d-4f76-820a-6b6c2202dd67" providerId="ADAL" clId="{27675839-2FA2-552B-B863-17B94EBDFF3D}" dt="2026-07-17T02:58:12.674" v="2968" actId="1076"/>
          <ac:picMkLst>
            <pc:docMk/>
            <pc:sldMk cId="2737272235" sldId="399"/>
            <ac:picMk id="13" creationId="{AA9C3CD2-53E5-B648-A8D9-6D360E413714}"/>
          </ac:picMkLst>
        </pc:picChg>
        <pc:picChg chg="add mod modCrop">
          <ac:chgData name="Chunyen Li (李 俊諺)" userId="40660eec-0f7d-4f76-820a-6b6c2202dd67" providerId="ADAL" clId="{27675839-2FA2-552B-B863-17B94EBDFF3D}" dt="2026-07-17T02:57:15.480" v="2953" actId="1076"/>
          <ac:picMkLst>
            <pc:docMk/>
            <pc:sldMk cId="2737272235" sldId="399"/>
            <ac:picMk id="16" creationId="{CFEB2FBF-D949-FB68-1F33-1E886BFF3618}"/>
          </ac:picMkLst>
        </pc:picChg>
        <pc:picChg chg="add mod">
          <ac:chgData name="Chunyen Li (李 俊諺)" userId="40660eec-0f7d-4f76-820a-6b6c2202dd67" providerId="ADAL" clId="{27675839-2FA2-552B-B863-17B94EBDFF3D}" dt="2026-07-17T02:47:31.124" v="2876"/>
          <ac:picMkLst>
            <pc:docMk/>
            <pc:sldMk cId="2737272235" sldId="399"/>
            <ac:picMk id="19" creationId="{4ACA11D5-4D07-476F-2398-82E6556C0A99}"/>
          </ac:picMkLst>
        </pc:picChg>
        <pc:picChg chg="add del mod">
          <ac:chgData name="Chunyen Li (李 俊諺)" userId="40660eec-0f7d-4f76-820a-6b6c2202dd67" providerId="ADAL" clId="{27675839-2FA2-552B-B863-17B94EBDFF3D}" dt="2026-07-17T03:21:50.109" v="3515" actId="478"/>
          <ac:picMkLst>
            <pc:docMk/>
            <pc:sldMk cId="2737272235" sldId="399"/>
            <ac:picMk id="20" creationId="{1076570A-59FE-D8E0-9B4E-01C97E5663D0}"/>
          </ac:picMkLst>
        </pc:picChg>
        <pc:picChg chg="add mod modCrop">
          <ac:chgData name="Chunyen Li (李 俊諺)" userId="40660eec-0f7d-4f76-820a-6b6c2202dd67" providerId="ADAL" clId="{27675839-2FA2-552B-B863-17B94EBDFF3D}" dt="2026-07-17T03:05:03.298" v="3023" actId="1076"/>
          <ac:picMkLst>
            <pc:docMk/>
            <pc:sldMk cId="2737272235" sldId="399"/>
            <ac:picMk id="21" creationId="{8FF3FC86-8BD1-49FD-E668-76BD3B2B211F}"/>
          </ac:picMkLst>
        </pc:picChg>
        <pc:picChg chg="add mod modCrop">
          <ac:chgData name="Chunyen Li (李 俊諺)" userId="40660eec-0f7d-4f76-820a-6b6c2202dd67" providerId="ADAL" clId="{27675839-2FA2-552B-B863-17B94EBDFF3D}" dt="2026-07-17T02:54:46.029" v="2933" actId="1035"/>
          <ac:picMkLst>
            <pc:docMk/>
            <pc:sldMk cId="2737272235" sldId="399"/>
            <ac:picMk id="23" creationId="{B22B8E74-7232-15F2-EF30-9978EEAA0E6A}"/>
          </ac:picMkLst>
        </pc:picChg>
        <pc:picChg chg="mod">
          <ac:chgData name="Chunyen Li (李 俊諺)" userId="40660eec-0f7d-4f76-820a-6b6c2202dd67" providerId="ADAL" clId="{27675839-2FA2-552B-B863-17B94EBDFF3D}" dt="2026-07-17T03:07:26.560" v="3048"/>
          <ac:picMkLst>
            <pc:docMk/>
            <pc:sldMk cId="2737272235" sldId="399"/>
            <ac:picMk id="33" creationId="{3842A039-AD12-85E1-07E8-614A4C1ACB9E}"/>
          </ac:picMkLst>
        </pc:picChg>
        <pc:picChg chg="mod">
          <ac:chgData name="Chunyen Li (李 俊諺)" userId="40660eec-0f7d-4f76-820a-6b6c2202dd67" providerId="ADAL" clId="{27675839-2FA2-552B-B863-17B94EBDFF3D}" dt="2026-07-17T03:07:26.560" v="3048"/>
          <ac:picMkLst>
            <pc:docMk/>
            <pc:sldMk cId="2737272235" sldId="399"/>
            <ac:picMk id="34" creationId="{38B67853-65D8-97CD-6FE8-30BC90E45148}"/>
          </ac:picMkLst>
        </pc:picChg>
        <pc:picChg chg="del">
          <ac:chgData name="Chunyen Li (李 俊諺)" userId="40660eec-0f7d-4f76-820a-6b6c2202dd67" providerId="ADAL" clId="{27675839-2FA2-552B-B863-17B94EBDFF3D}" dt="2026-07-17T02:28:11.181" v="2754" actId="478"/>
          <ac:picMkLst>
            <pc:docMk/>
            <pc:sldMk cId="2737272235" sldId="399"/>
            <ac:picMk id="151" creationId="{403DD9E0-021F-9380-8FC6-D7026E9386FA}"/>
          </ac:picMkLst>
        </pc:picChg>
        <pc:cxnChg chg="del">
          <ac:chgData name="Chunyen Li (李 俊諺)" userId="40660eec-0f7d-4f76-820a-6b6c2202dd67" providerId="ADAL" clId="{27675839-2FA2-552B-B863-17B94EBDFF3D}" dt="2026-07-17T04:39:28.628" v="3729" actId="478"/>
          <ac:cxnSpMkLst>
            <pc:docMk/>
            <pc:sldMk cId="2737272235" sldId="399"/>
            <ac:cxnSpMk id="18" creationId="{3DD30F77-77C5-901B-508A-3002184A0577}"/>
          </ac:cxnSpMkLst>
        </pc:cxnChg>
        <pc:cxnChg chg="mod">
          <ac:chgData name="Chunyen Li (李 俊諺)" userId="40660eec-0f7d-4f76-820a-6b6c2202dd67" providerId="ADAL" clId="{27675839-2FA2-552B-B863-17B94EBDFF3D}" dt="2026-07-17T03:23:45.357" v="3534" actId="1036"/>
          <ac:cxnSpMkLst>
            <pc:docMk/>
            <pc:sldMk cId="2737272235" sldId="399"/>
            <ac:cxnSpMk id="92" creationId="{944E25CA-F6D5-8553-ED85-3B47785C215F}"/>
          </ac:cxnSpMkLst>
        </pc:cxnChg>
      </pc:sldChg>
      <pc:sldChg chg="addSp delSp modSp add mod">
        <pc:chgData name="Chunyen Li (李 俊諺)" userId="40660eec-0f7d-4f76-820a-6b6c2202dd67" providerId="ADAL" clId="{27675839-2FA2-552B-B863-17B94EBDFF3D}" dt="2026-07-17T11:21:50.314" v="6693" actId="207"/>
        <pc:sldMkLst>
          <pc:docMk/>
          <pc:sldMk cId="1615287125" sldId="400"/>
        </pc:sldMkLst>
        <pc:spChg chg="add mod">
          <ac:chgData name="Chunyen Li (李 俊諺)" userId="40660eec-0f7d-4f76-820a-6b6c2202dd67" providerId="ADAL" clId="{27675839-2FA2-552B-B863-17B94EBDFF3D}" dt="2026-07-17T11:21:50.314" v="6693" actId="207"/>
          <ac:spMkLst>
            <pc:docMk/>
            <pc:sldMk cId="1615287125" sldId="400"/>
            <ac:spMk id="4" creationId="{6D33B769-5007-483C-7924-49FB777A3298}"/>
          </ac:spMkLst>
        </pc:spChg>
        <pc:spChg chg="mod">
          <ac:chgData name="Chunyen Li (李 俊諺)" userId="40660eec-0f7d-4f76-820a-6b6c2202dd67" providerId="ADAL" clId="{27675839-2FA2-552B-B863-17B94EBDFF3D}" dt="2026-07-17T02:27:18.282" v="2750" actId="1076"/>
          <ac:spMkLst>
            <pc:docMk/>
            <pc:sldMk cId="1615287125" sldId="400"/>
            <ac:spMk id="5" creationId="{2BEB5DBA-EE17-17D6-5245-F6F0BAF1EA29}"/>
          </ac:spMkLst>
        </pc:spChg>
        <pc:spChg chg="mod">
          <ac:chgData name="Chunyen Li (李 俊諺)" userId="40660eec-0f7d-4f76-820a-6b6c2202dd67" providerId="ADAL" clId="{27675839-2FA2-552B-B863-17B94EBDFF3D}" dt="2026-07-17T02:28:00.403" v="2752" actId="255"/>
          <ac:spMkLst>
            <pc:docMk/>
            <pc:sldMk cId="1615287125" sldId="400"/>
            <ac:spMk id="8" creationId="{71AFD9CF-0D05-E458-F4D4-B9111CA3E8B9}"/>
          </ac:spMkLst>
        </pc:spChg>
        <pc:spChg chg="mod">
          <ac:chgData name="Chunyen Li (李 俊諺)" userId="40660eec-0f7d-4f76-820a-6b6c2202dd67" providerId="ADAL" clId="{27675839-2FA2-552B-B863-17B94EBDFF3D}" dt="2026-07-17T02:26:58.934" v="2748" actId="5793"/>
          <ac:spMkLst>
            <pc:docMk/>
            <pc:sldMk cId="1615287125" sldId="400"/>
            <ac:spMk id="9" creationId="{05EDAB67-4D81-4374-95D2-D6930BADDFE0}"/>
          </ac:spMkLst>
        </pc:spChg>
        <pc:spChg chg="mod">
          <ac:chgData name="Chunyen Li (李 俊諺)" userId="40660eec-0f7d-4f76-820a-6b6c2202dd67" providerId="ADAL" clId="{27675839-2FA2-552B-B863-17B94EBDFF3D}" dt="2026-07-17T02:26:52.442" v="2746" actId="1076"/>
          <ac:spMkLst>
            <pc:docMk/>
            <pc:sldMk cId="1615287125" sldId="400"/>
            <ac:spMk id="10" creationId="{2C3963D4-E046-8016-4D0D-C5CA51FEBD3D}"/>
          </ac:spMkLst>
        </pc:spChg>
        <pc:spChg chg="mod">
          <ac:chgData name="Chunyen Li (李 俊諺)" userId="40660eec-0f7d-4f76-820a-6b6c2202dd67" providerId="ADAL" clId="{27675839-2FA2-552B-B863-17B94EBDFF3D}" dt="2026-07-17T02:27:09.017" v="2749" actId="1076"/>
          <ac:spMkLst>
            <pc:docMk/>
            <pc:sldMk cId="1615287125" sldId="400"/>
            <ac:spMk id="250" creationId="{EFEB13F9-8987-0E70-E0EB-E769AAD12215}"/>
          </ac:spMkLst>
        </pc:spChg>
        <pc:picChg chg="add mod modCrop">
          <ac:chgData name="Chunyen Li (李 俊諺)" userId="40660eec-0f7d-4f76-820a-6b6c2202dd67" providerId="ADAL" clId="{27675839-2FA2-552B-B863-17B94EBDFF3D}" dt="2026-07-17T11:21:44.670" v="6650" actId="207"/>
          <ac:picMkLst>
            <pc:docMk/>
            <pc:sldMk cId="1615287125" sldId="400"/>
            <ac:picMk id="2" creationId="{AA7EA0C6-6A0E-4C10-9AC1-2F76B05B7261}"/>
          </ac:picMkLst>
        </pc:picChg>
        <pc:picChg chg="del">
          <ac:chgData name="Chunyen Li (李 俊諺)" userId="40660eec-0f7d-4f76-820a-6b6c2202dd67" providerId="ADAL" clId="{27675839-2FA2-552B-B863-17B94EBDFF3D}" dt="2026-07-17T02:26:04.703" v="2729" actId="478"/>
          <ac:picMkLst>
            <pc:docMk/>
            <pc:sldMk cId="1615287125" sldId="400"/>
            <ac:picMk id="3" creationId="{90094D79-3A30-B2CB-31A0-7BC290E39487}"/>
          </ac:picMkLst>
        </pc:picChg>
        <pc:cxnChg chg="mod">
          <ac:chgData name="Chunyen Li (李 俊諺)" userId="40660eec-0f7d-4f76-820a-6b6c2202dd67" providerId="ADAL" clId="{27675839-2FA2-552B-B863-17B94EBDFF3D}" dt="2026-07-17T02:27:09.017" v="2749" actId="1076"/>
          <ac:cxnSpMkLst>
            <pc:docMk/>
            <pc:sldMk cId="1615287125" sldId="400"/>
            <ac:cxnSpMk id="7" creationId="{E076113E-260B-316D-0195-FDA557F326D3}"/>
          </ac:cxnSpMkLst>
        </pc:cxnChg>
      </pc:sldChg>
      <pc:sldChg chg="addSp delSp modSp add mod modNotesTx">
        <pc:chgData name="Chunyen Li (李 俊諺)" userId="40660eec-0f7d-4f76-820a-6b6c2202dd67" providerId="ADAL" clId="{27675839-2FA2-552B-B863-17B94EBDFF3D}" dt="2026-07-17T21:30:16.781" v="8988" actId="20577"/>
        <pc:sldMkLst>
          <pc:docMk/>
          <pc:sldMk cId="2763495615" sldId="401"/>
        </pc:sldMkLst>
        <pc:spChg chg="mod">
          <ac:chgData name="Chunyen Li (李 俊諺)" userId="40660eec-0f7d-4f76-820a-6b6c2202dd67" providerId="ADAL" clId="{27675839-2FA2-552B-B863-17B94EBDFF3D}" dt="2026-07-17T04:47:52.672" v="3733"/>
          <ac:spMkLst>
            <pc:docMk/>
            <pc:sldMk cId="2763495615" sldId="401"/>
            <ac:spMk id="2" creationId="{9AF40505-3282-C3D5-3357-136DD4308E3E}"/>
          </ac:spMkLst>
        </pc:spChg>
        <pc:spChg chg="add del mod">
          <ac:chgData name="Chunyen Li (李 俊諺)" userId="40660eec-0f7d-4f76-820a-6b6c2202dd67" providerId="ADAL" clId="{27675839-2FA2-552B-B863-17B94EBDFF3D}" dt="2026-07-17T04:39:24.030" v="3728"/>
          <ac:spMkLst>
            <pc:docMk/>
            <pc:sldMk cId="2763495615" sldId="401"/>
            <ac:spMk id="3" creationId="{76F34406-4DCE-9413-AAD9-15D71231CC01}"/>
          </ac:spMkLst>
        </pc:spChg>
        <pc:spChg chg="add del mod">
          <ac:chgData name="Chunyen Li (李 俊諺)" userId="40660eec-0f7d-4f76-820a-6b6c2202dd67" providerId="ADAL" clId="{27675839-2FA2-552B-B863-17B94EBDFF3D}" dt="2026-07-17T05:23:44.465" v="4031" actId="21"/>
          <ac:spMkLst>
            <pc:docMk/>
            <pc:sldMk cId="2763495615" sldId="401"/>
            <ac:spMk id="6" creationId="{3C635AA6-56F4-D528-F8BA-CD024AE48B7C}"/>
          </ac:spMkLst>
        </pc:spChg>
        <pc:spChg chg="add del mod">
          <ac:chgData name="Chunyen Li (李 俊諺)" userId="40660eec-0f7d-4f76-820a-6b6c2202dd67" providerId="ADAL" clId="{27675839-2FA2-552B-B863-17B94EBDFF3D}" dt="2026-07-17T05:23:44.465" v="4031" actId="21"/>
          <ac:spMkLst>
            <pc:docMk/>
            <pc:sldMk cId="2763495615" sldId="401"/>
            <ac:spMk id="7" creationId="{4045DF37-6E1C-2C15-85CD-DED532A72643}"/>
          </ac:spMkLst>
        </pc:spChg>
        <pc:spChg chg="add del mod">
          <ac:chgData name="Chunyen Li (李 俊諺)" userId="40660eec-0f7d-4f76-820a-6b6c2202dd67" providerId="ADAL" clId="{27675839-2FA2-552B-B863-17B94EBDFF3D}" dt="2026-07-17T05:23:44.465" v="4031" actId="21"/>
          <ac:spMkLst>
            <pc:docMk/>
            <pc:sldMk cId="2763495615" sldId="401"/>
            <ac:spMk id="8" creationId="{91A13C23-54CC-4D1A-AA5E-B3CA1E84865D}"/>
          </ac:spMkLst>
        </pc:spChg>
        <pc:spChg chg="add del mod">
          <ac:chgData name="Chunyen Li (李 俊諺)" userId="40660eec-0f7d-4f76-820a-6b6c2202dd67" providerId="ADAL" clId="{27675839-2FA2-552B-B863-17B94EBDFF3D}" dt="2026-07-17T05:23:44.465" v="4031" actId="21"/>
          <ac:spMkLst>
            <pc:docMk/>
            <pc:sldMk cId="2763495615" sldId="401"/>
            <ac:spMk id="9" creationId="{2EB91E6D-4399-4CD6-4B2D-CA029BCD8E83}"/>
          </ac:spMkLst>
        </pc:spChg>
        <pc:spChg chg="add del mod">
          <ac:chgData name="Chunyen Li (李 俊諺)" userId="40660eec-0f7d-4f76-820a-6b6c2202dd67" providerId="ADAL" clId="{27675839-2FA2-552B-B863-17B94EBDFF3D}" dt="2026-07-17T05:23:44.465" v="4031" actId="21"/>
          <ac:spMkLst>
            <pc:docMk/>
            <pc:sldMk cId="2763495615" sldId="401"/>
            <ac:spMk id="10" creationId="{EEBFBFC5-AEAE-15ED-458C-1AB5DC3CF845}"/>
          </ac:spMkLst>
        </pc:spChg>
        <pc:spChg chg="add del mod">
          <ac:chgData name="Chunyen Li (李 俊諺)" userId="40660eec-0f7d-4f76-820a-6b6c2202dd67" providerId="ADAL" clId="{27675839-2FA2-552B-B863-17B94EBDFF3D}" dt="2026-07-17T05:23:44.465" v="4031" actId="21"/>
          <ac:spMkLst>
            <pc:docMk/>
            <pc:sldMk cId="2763495615" sldId="401"/>
            <ac:spMk id="11" creationId="{EB8C15DC-15EB-3712-0A1B-84BE64DCB877}"/>
          </ac:spMkLst>
        </pc:spChg>
        <pc:spChg chg="mod">
          <ac:chgData name="Chunyen Li (李 俊諺)" userId="40660eec-0f7d-4f76-820a-6b6c2202dd67" providerId="ADAL" clId="{27675839-2FA2-552B-B863-17B94EBDFF3D}" dt="2026-07-17T05:36:54.227" v="4277" actId="1076"/>
          <ac:spMkLst>
            <pc:docMk/>
            <pc:sldMk cId="2763495615" sldId="401"/>
            <ac:spMk id="15" creationId="{4D7C387D-4CE9-B9CD-82EC-63C2214A11A9}"/>
          </ac:spMkLst>
        </pc:spChg>
        <pc:spChg chg="del mod">
          <ac:chgData name="Chunyen Li (李 俊諺)" userId="40660eec-0f7d-4f76-820a-6b6c2202dd67" providerId="ADAL" clId="{27675839-2FA2-552B-B863-17B94EBDFF3D}" dt="2026-07-17T05:40:33.457" v="4330" actId="478"/>
          <ac:spMkLst>
            <pc:docMk/>
            <pc:sldMk cId="2763495615" sldId="401"/>
            <ac:spMk id="17" creationId="{D0FA9C18-8CCB-2089-BC4C-1E4F1649DFBC}"/>
          </ac:spMkLst>
        </pc:spChg>
        <pc:spChg chg="mod">
          <ac:chgData name="Chunyen Li (李 俊諺)" userId="40660eec-0f7d-4f76-820a-6b6c2202dd67" providerId="ADAL" clId="{27675839-2FA2-552B-B863-17B94EBDFF3D}" dt="2026-07-17T05:37:08.036" v="4283" actId="1076"/>
          <ac:spMkLst>
            <pc:docMk/>
            <pc:sldMk cId="2763495615" sldId="401"/>
            <ac:spMk id="19" creationId="{8D7A50BF-7CD2-4E6F-184A-A4AA57FD4874}"/>
          </ac:spMkLst>
        </pc:spChg>
        <pc:spChg chg="del">
          <ac:chgData name="Chunyen Li (李 俊諺)" userId="40660eec-0f7d-4f76-820a-6b6c2202dd67" providerId="ADAL" clId="{27675839-2FA2-552B-B863-17B94EBDFF3D}" dt="2026-07-17T03:22:53.637" v="3520" actId="478"/>
          <ac:spMkLst>
            <pc:docMk/>
            <pc:sldMk cId="2763495615" sldId="401"/>
            <ac:spMk id="22" creationId="{F126E0CB-DA2B-F526-002B-15C926B2E552}"/>
          </ac:spMkLst>
        </pc:spChg>
        <pc:spChg chg="del">
          <ac:chgData name="Chunyen Li (李 俊諺)" userId="40660eec-0f7d-4f76-820a-6b6c2202dd67" providerId="ADAL" clId="{27675839-2FA2-552B-B863-17B94EBDFF3D}" dt="2026-07-17T03:22:53.637" v="3520" actId="478"/>
          <ac:spMkLst>
            <pc:docMk/>
            <pc:sldMk cId="2763495615" sldId="401"/>
            <ac:spMk id="24" creationId="{597EB01F-1483-0BF5-5E47-CC2CA4F80DC3}"/>
          </ac:spMkLst>
        </pc:spChg>
        <pc:spChg chg="del">
          <ac:chgData name="Chunyen Li (李 俊諺)" userId="40660eec-0f7d-4f76-820a-6b6c2202dd67" providerId="ADAL" clId="{27675839-2FA2-552B-B863-17B94EBDFF3D}" dt="2026-07-17T03:22:53.637" v="3520" actId="478"/>
          <ac:spMkLst>
            <pc:docMk/>
            <pc:sldMk cId="2763495615" sldId="401"/>
            <ac:spMk id="27" creationId="{2150EBA6-32E8-8DC6-CB9B-87007F7B0B72}"/>
          </ac:spMkLst>
        </pc:spChg>
        <pc:spChg chg="del">
          <ac:chgData name="Chunyen Li (李 俊諺)" userId="40660eec-0f7d-4f76-820a-6b6c2202dd67" providerId="ADAL" clId="{27675839-2FA2-552B-B863-17B94EBDFF3D}" dt="2026-07-17T03:22:53.637" v="3520" actId="478"/>
          <ac:spMkLst>
            <pc:docMk/>
            <pc:sldMk cId="2763495615" sldId="401"/>
            <ac:spMk id="28" creationId="{63D24429-68F7-ED06-3B34-D4B06BE71711}"/>
          </ac:spMkLst>
        </pc:spChg>
        <pc:spChg chg="del">
          <ac:chgData name="Chunyen Li (李 俊諺)" userId="40660eec-0f7d-4f76-820a-6b6c2202dd67" providerId="ADAL" clId="{27675839-2FA2-552B-B863-17B94EBDFF3D}" dt="2026-07-17T03:22:53.637" v="3520" actId="478"/>
          <ac:spMkLst>
            <pc:docMk/>
            <pc:sldMk cId="2763495615" sldId="401"/>
            <ac:spMk id="29" creationId="{BCBE67BE-652B-7819-89E0-B8FB82877EF8}"/>
          </ac:spMkLst>
        </pc:spChg>
        <pc:spChg chg="del">
          <ac:chgData name="Chunyen Li (李 俊諺)" userId="40660eec-0f7d-4f76-820a-6b6c2202dd67" providerId="ADAL" clId="{27675839-2FA2-552B-B863-17B94EBDFF3D}" dt="2026-07-17T03:22:53.637" v="3520" actId="478"/>
          <ac:spMkLst>
            <pc:docMk/>
            <pc:sldMk cId="2763495615" sldId="401"/>
            <ac:spMk id="30" creationId="{F6168D79-4B7D-9664-5022-6A8A2A94B4FC}"/>
          </ac:spMkLst>
        </pc:spChg>
        <pc:spChg chg="del">
          <ac:chgData name="Chunyen Li (李 俊諺)" userId="40660eec-0f7d-4f76-820a-6b6c2202dd67" providerId="ADAL" clId="{27675839-2FA2-552B-B863-17B94EBDFF3D}" dt="2026-07-17T03:22:53.637" v="3520" actId="478"/>
          <ac:spMkLst>
            <pc:docMk/>
            <pc:sldMk cId="2763495615" sldId="401"/>
            <ac:spMk id="31" creationId="{2C05BAC1-4D6A-77E0-FB60-666B4D233F76}"/>
          </ac:spMkLst>
        </pc:spChg>
        <pc:spChg chg="add mod">
          <ac:chgData name="Chunyen Li (李 俊諺)" userId="40660eec-0f7d-4f76-820a-6b6c2202dd67" providerId="ADAL" clId="{27675839-2FA2-552B-B863-17B94EBDFF3D}" dt="2026-07-17T05:35:45.167" v="4261" actId="14100"/>
          <ac:spMkLst>
            <pc:docMk/>
            <pc:sldMk cId="2763495615" sldId="401"/>
            <ac:spMk id="32" creationId="{092EE588-7C5A-AD06-7506-DB7DBD488ABA}"/>
          </ac:spMkLst>
        </pc:spChg>
        <pc:spChg chg="add mod">
          <ac:chgData name="Chunyen Li (李 俊諺)" userId="40660eec-0f7d-4f76-820a-6b6c2202dd67" providerId="ADAL" clId="{27675839-2FA2-552B-B863-17B94EBDFF3D}" dt="2026-07-17T09:24:45.853" v="6492" actId="20577"/>
          <ac:spMkLst>
            <pc:docMk/>
            <pc:sldMk cId="2763495615" sldId="401"/>
            <ac:spMk id="33" creationId="{CEAC408F-E822-0719-485D-FA5C384EB5CC}"/>
          </ac:spMkLst>
        </pc:spChg>
        <pc:spChg chg="add mod">
          <ac:chgData name="Chunyen Li (李 俊諺)" userId="40660eec-0f7d-4f76-820a-6b6c2202dd67" providerId="ADAL" clId="{27675839-2FA2-552B-B863-17B94EBDFF3D}" dt="2026-07-17T05:37:38.384" v="4290" actId="14100"/>
          <ac:spMkLst>
            <pc:docMk/>
            <pc:sldMk cId="2763495615" sldId="401"/>
            <ac:spMk id="34" creationId="{72C6B462-E2BC-A628-029B-EF2AAC746713}"/>
          </ac:spMkLst>
        </pc:spChg>
        <pc:spChg chg="del">
          <ac:chgData name="Chunyen Li (李 俊諺)" userId="40660eec-0f7d-4f76-820a-6b6c2202dd67" providerId="ADAL" clId="{27675839-2FA2-552B-B863-17B94EBDFF3D}" dt="2026-07-17T03:22:53.637" v="3520" actId="478"/>
          <ac:spMkLst>
            <pc:docMk/>
            <pc:sldMk cId="2763495615" sldId="401"/>
            <ac:spMk id="35" creationId="{6566B905-ABF3-B1F5-F9DC-962AD52DF823}"/>
          </ac:spMkLst>
        </pc:spChg>
        <pc:spChg chg="add del mod">
          <ac:chgData name="Chunyen Li (李 俊諺)" userId="40660eec-0f7d-4f76-820a-6b6c2202dd67" providerId="ADAL" clId="{27675839-2FA2-552B-B863-17B94EBDFF3D}" dt="2026-07-17T05:28:40.726" v="4143" actId="478"/>
          <ac:spMkLst>
            <pc:docMk/>
            <pc:sldMk cId="2763495615" sldId="401"/>
            <ac:spMk id="37" creationId="{E9FB7EE9-A68E-B044-86F7-C0FF410DC63C}"/>
          </ac:spMkLst>
        </pc:spChg>
        <pc:spChg chg="mod">
          <ac:chgData name="Chunyen Li (李 俊諺)" userId="40660eec-0f7d-4f76-820a-6b6c2202dd67" providerId="ADAL" clId="{27675839-2FA2-552B-B863-17B94EBDFF3D}" dt="2026-07-17T21:30:16.781" v="8988" actId="20577"/>
          <ac:spMkLst>
            <pc:docMk/>
            <pc:sldMk cId="2763495615" sldId="401"/>
            <ac:spMk id="38" creationId="{15657E39-5615-3C84-CD59-222809B62D6E}"/>
          </ac:spMkLst>
        </pc:spChg>
        <pc:spChg chg="add mod">
          <ac:chgData name="Chunyen Li (李 俊諺)" userId="40660eec-0f7d-4f76-820a-6b6c2202dd67" providerId="ADAL" clId="{27675839-2FA2-552B-B863-17B94EBDFF3D}" dt="2026-07-17T05:37:25.233" v="4286" actId="1076"/>
          <ac:spMkLst>
            <pc:docMk/>
            <pc:sldMk cId="2763495615" sldId="401"/>
            <ac:spMk id="39" creationId="{BA59ED2F-5FC6-F0FD-265C-D3B337D93C6B}"/>
          </ac:spMkLst>
        </pc:spChg>
        <pc:spChg chg="add mod">
          <ac:chgData name="Chunyen Li (李 俊諺)" userId="40660eec-0f7d-4f76-820a-6b6c2202dd67" providerId="ADAL" clId="{27675839-2FA2-552B-B863-17B94EBDFF3D}" dt="2026-07-17T05:37:32.004" v="4288" actId="1076"/>
          <ac:spMkLst>
            <pc:docMk/>
            <pc:sldMk cId="2763495615" sldId="401"/>
            <ac:spMk id="40" creationId="{5A23FA1E-1825-C551-5EDA-72607690A714}"/>
          </ac:spMkLst>
        </pc:spChg>
        <pc:spChg chg="add mod">
          <ac:chgData name="Chunyen Li (李 俊諺)" userId="40660eec-0f7d-4f76-820a-6b6c2202dd67" providerId="ADAL" clId="{27675839-2FA2-552B-B863-17B94EBDFF3D}" dt="2026-07-17T05:33:34.497" v="4218"/>
          <ac:spMkLst>
            <pc:docMk/>
            <pc:sldMk cId="2763495615" sldId="401"/>
            <ac:spMk id="41" creationId="{91C24528-8A26-E7A8-654F-B69BE9517BA9}"/>
          </ac:spMkLst>
        </pc:spChg>
        <pc:spChg chg="add mod">
          <ac:chgData name="Chunyen Li (李 俊諺)" userId="40660eec-0f7d-4f76-820a-6b6c2202dd67" providerId="ADAL" clId="{27675839-2FA2-552B-B863-17B94EBDFF3D}" dt="2026-07-17T21:28:21.950" v="8922" actId="1076"/>
          <ac:spMkLst>
            <pc:docMk/>
            <pc:sldMk cId="2763495615" sldId="401"/>
            <ac:spMk id="43" creationId="{F52D284F-BA05-EBF8-D2B8-AF3BB4F0EE3E}"/>
          </ac:spMkLst>
        </pc:spChg>
        <pc:spChg chg="add mod">
          <ac:chgData name="Chunyen Li (李 俊諺)" userId="40660eec-0f7d-4f76-820a-6b6c2202dd67" providerId="ADAL" clId="{27675839-2FA2-552B-B863-17B94EBDFF3D}" dt="2026-07-17T21:27:39.508" v="8910" actId="14100"/>
          <ac:spMkLst>
            <pc:docMk/>
            <pc:sldMk cId="2763495615" sldId="401"/>
            <ac:spMk id="44" creationId="{FCDF2E81-5C88-C1CE-E7FB-9E20C68EAB04}"/>
          </ac:spMkLst>
        </pc:spChg>
        <pc:spChg chg="add del mod">
          <ac:chgData name="Chunyen Li (李 俊諺)" userId="40660eec-0f7d-4f76-820a-6b6c2202dd67" providerId="ADAL" clId="{27675839-2FA2-552B-B863-17B94EBDFF3D}" dt="2026-07-17T21:28:30.928" v="8926" actId="478"/>
          <ac:spMkLst>
            <pc:docMk/>
            <pc:sldMk cId="2763495615" sldId="401"/>
            <ac:spMk id="45" creationId="{D38FE499-C01B-5340-E7C7-52CFB49E2C55}"/>
          </ac:spMkLst>
        </pc:spChg>
        <pc:spChg chg="add del mod">
          <ac:chgData name="Chunyen Li (李 俊諺)" userId="40660eec-0f7d-4f76-820a-6b6c2202dd67" providerId="ADAL" clId="{27675839-2FA2-552B-B863-17B94EBDFF3D}" dt="2026-07-17T09:24:39.463" v="6491" actId="21"/>
          <ac:spMkLst>
            <pc:docMk/>
            <pc:sldMk cId="2763495615" sldId="401"/>
            <ac:spMk id="46" creationId="{648F4D52-A797-3A46-CFA5-1D9D8D59D8C4}"/>
          </ac:spMkLst>
        </pc:spChg>
        <pc:spChg chg="add mod">
          <ac:chgData name="Chunyen Li (李 俊諺)" userId="40660eec-0f7d-4f76-820a-6b6c2202dd67" providerId="ADAL" clId="{27675839-2FA2-552B-B863-17B94EBDFF3D}" dt="2026-07-17T21:27:43.375" v="8911"/>
          <ac:spMkLst>
            <pc:docMk/>
            <pc:sldMk cId="2763495615" sldId="401"/>
            <ac:spMk id="47" creationId="{BFBB470A-80A0-03A7-8C20-3CC7494CA370}"/>
          </ac:spMkLst>
        </pc:spChg>
        <pc:spChg chg="add mod">
          <ac:chgData name="Chunyen Li (李 俊諺)" userId="40660eec-0f7d-4f76-820a-6b6c2202dd67" providerId="ADAL" clId="{27675839-2FA2-552B-B863-17B94EBDFF3D}" dt="2026-07-17T21:28:28.665" v="8925" actId="20577"/>
          <ac:spMkLst>
            <pc:docMk/>
            <pc:sldMk cId="2763495615" sldId="401"/>
            <ac:spMk id="48" creationId="{D35A4D73-0B91-16B0-DCFE-8A6B869FA0D7}"/>
          </ac:spMkLst>
        </pc:spChg>
        <pc:spChg chg="del mod">
          <ac:chgData name="Chunyen Li (李 俊諺)" userId="40660eec-0f7d-4f76-820a-6b6c2202dd67" providerId="ADAL" clId="{27675839-2FA2-552B-B863-17B94EBDFF3D}" dt="2026-07-17T05:40:29.820" v="4327" actId="478"/>
          <ac:spMkLst>
            <pc:docMk/>
            <pc:sldMk cId="2763495615" sldId="401"/>
            <ac:spMk id="91" creationId="{10B5832C-74CB-E7A4-7B12-88E05F8E80CB}"/>
          </ac:spMkLst>
        </pc:spChg>
        <pc:grpChg chg="add mod">
          <ac:chgData name="Chunyen Li (李 俊諺)" userId="40660eec-0f7d-4f76-820a-6b6c2202dd67" providerId="ADAL" clId="{27675839-2FA2-552B-B863-17B94EBDFF3D}" dt="2026-07-17T05:38:23.835" v="4298" actId="14100"/>
          <ac:grpSpMkLst>
            <pc:docMk/>
            <pc:sldMk cId="2763495615" sldId="401"/>
            <ac:grpSpMk id="12" creationId="{ABCE1E43-07FF-2B5F-1C1B-27836424395B}"/>
          </ac:grpSpMkLst>
        </pc:grpChg>
        <pc:picChg chg="add del mod">
          <ac:chgData name="Chunyen Li (李 俊諺)" userId="40660eec-0f7d-4f76-820a-6b6c2202dd67" providerId="ADAL" clId="{27675839-2FA2-552B-B863-17B94EBDFF3D}" dt="2026-07-17T05:38:12.221" v="4297" actId="478"/>
          <ac:picMkLst>
            <pc:docMk/>
            <pc:sldMk cId="2763495615" sldId="401"/>
            <ac:picMk id="4" creationId="{8FF448E5-ECA5-2719-07A2-BBA644382D8D}"/>
          </ac:picMkLst>
        </pc:picChg>
        <pc:picChg chg="add del mod modCrop">
          <ac:chgData name="Chunyen Li (李 俊諺)" userId="40660eec-0f7d-4f76-820a-6b6c2202dd67" providerId="ADAL" clId="{27675839-2FA2-552B-B863-17B94EBDFF3D}" dt="2026-07-17T05:23:44.465" v="4031" actId="21"/>
          <ac:picMkLst>
            <pc:docMk/>
            <pc:sldMk cId="2763495615" sldId="401"/>
            <ac:picMk id="5" creationId="{571CA7E2-D377-2F45-1975-23C9B754946A}"/>
          </ac:picMkLst>
        </pc:picChg>
        <pc:picChg chg="del">
          <ac:chgData name="Chunyen Li (李 俊諺)" userId="40660eec-0f7d-4f76-820a-6b6c2202dd67" providerId="ADAL" clId="{27675839-2FA2-552B-B863-17B94EBDFF3D}" dt="2026-07-17T03:22:53.637" v="3520" actId="478"/>
          <ac:picMkLst>
            <pc:docMk/>
            <pc:sldMk cId="2763495615" sldId="401"/>
            <ac:picMk id="13" creationId="{093B2C24-B4DB-ADA6-FB20-496318BAA4E3}"/>
          </ac:picMkLst>
        </pc:picChg>
        <pc:picChg chg="mod">
          <ac:chgData name="Chunyen Li (李 俊諺)" userId="40660eec-0f7d-4f76-820a-6b6c2202dd67" providerId="ADAL" clId="{27675839-2FA2-552B-B863-17B94EBDFF3D}" dt="2026-07-17T05:36:54.227" v="4277" actId="1076"/>
          <ac:picMkLst>
            <pc:docMk/>
            <pc:sldMk cId="2763495615" sldId="401"/>
            <ac:picMk id="14" creationId="{8E771D31-2EA5-BC02-3F02-7D05CBA069CD}"/>
          </ac:picMkLst>
        </pc:picChg>
        <pc:picChg chg="add mod">
          <ac:chgData name="Chunyen Li (李 俊諺)" userId="40660eec-0f7d-4f76-820a-6b6c2202dd67" providerId="ADAL" clId="{27675839-2FA2-552B-B863-17B94EBDFF3D}" dt="2026-07-17T05:35:32.575" v="4257" actId="1076"/>
          <ac:picMkLst>
            <pc:docMk/>
            <pc:sldMk cId="2763495615" sldId="401"/>
            <ac:picMk id="20" creationId="{87966CFA-0816-A2BE-5A3D-7D60275B6D8F}"/>
          </ac:picMkLst>
        </pc:picChg>
        <pc:picChg chg="del">
          <ac:chgData name="Chunyen Li (李 俊諺)" userId="40660eec-0f7d-4f76-820a-6b6c2202dd67" providerId="ADAL" clId="{27675839-2FA2-552B-B863-17B94EBDFF3D}" dt="2026-07-17T03:22:53.637" v="3520" actId="478"/>
          <ac:picMkLst>
            <pc:docMk/>
            <pc:sldMk cId="2763495615" sldId="401"/>
            <ac:picMk id="21" creationId="{0645239B-B2A7-BDF5-A485-269791255285}"/>
          </ac:picMkLst>
        </pc:picChg>
        <pc:picChg chg="add mod">
          <ac:chgData name="Chunyen Li (李 俊諺)" userId="40660eec-0f7d-4f76-820a-6b6c2202dd67" providerId="ADAL" clId="{27675839-2FA2-552B-B863-17B94EBDFF3D}" dt="2026-07-17T05:34:58.155" v="4242" actId="1076"/>
          <ac:picMkLst>
            <pc:docMk/>
            <pc:sldMk cId="2763495615" sldId="401"/>
            <ac:picMk id="26" creationId="{3E011D6A-73C4-2635-CCA8-949B1F5FAC59}"/>
          </ac:picMkLst>
        </pc:picChg>
        <pc:picChg chg="add mod">
          <ac:chgData name="Chunyen Li (李 俊諺)" userId="40660eec-0f7d-4f76-820a-6b6c2202dd67" providerId="ADAL" clId="{27675839-2FA2-552B-B863-17B94EBDFF3D}" dt="2026-07-17T21:28:10.963" v="8918" actId="1076"/>
          <ac:picMkLst>
            <pc:docMk/>
            <pc:sldMk cId="2763495615" sldId="401"/>
            <ac:picMk id="36" creationId="{5171C7C1-CFA6-8A21-69EF-FEF8561A4132}"/>
          </ac:picMkLst>
        </pc:picChg>
        <pc:cxnChg chg="del">
          <ac:chgData name="Chunyen Li (李 俊諺)" userId="40660eec-0f7d-4f76-820a-6b6c2202dd67" providerId="ADAL" clId="{27675839-2FA2-552B-B863-17B94EBDFF3D}" dt="2026-07-17T05:40:34.518" v="4331" actId="478"/>
          <ac:cxnSpMkLst>
            <pc:docMk/>
            <pc:sldMk cId="2763495615" sldId="401"/>
            <ac:cxnSpMk id="18" creationId="{3ED58029-16B3-8638-A9FA-99085F50FBF5}"/>
          </ac:cxnSpMkLst>
        </pc:cxnChg>
        <pc:cxnChg chg="del mod">
          <ac:chgData name="Chunyen Li (李 俊諺)" userId="40660eec-0f7d-4f76-820a-6b6c2202dd67" providerId="ADAL" clId="{27675839-2FA2-552B-B863-17B94EBDFF3D}" dt="2026-07-17T05:40:30.436" v="4328" actId="478"/>
          <ac:cxnSpMkLst>
            <pc:docMk/>
            <pc:sldMk cId="2763495615" sldId="401"/>
            <ac:cxnSpMk id="92" creationId="{3DFD47EF-7BFA-E699-01EA-149E12FFFCFC}"/>
          </ac:cxnSpMkLst>
        </pc:cxnChg>
      </pc:sldChg>
      <pc:sldChg chg="addSp delSp modSp new mod">
        <pc:chgData name="Chunyen Li (李 俊諺)" userId="40660eec-0f7d-4f76-820a-6b6c2202dd67" providerId="ADAL" clId="{27675839-2FA2-552B-B863-17B94EBDFF3D}" dt="2026-07-17T05:26:05.719" v="4098" actId="21"/>
        <pc:sldMkLst>
          <pc:docMk/>
          <pc:sldMk cId="398319340" sldId="402"/>
        </pc:sldMkLst>
        <pc:spChg chg="del">
          <ac:chgData name="Chunyen Li (李 俊諺)" userId="40660eec-0f7d-4f76-820a-6b6c2202dd67" providerId="ADAL" clId="{27675839-2FA2-552B-B863-17B94EBDFF3D}" dt="2026-07-17T05:23:47.952" v="4032" actId="478"/>
          <ac:spMkLst>
            <pc:docMk/>
            <pc:sldMk cId="398319340" sldId="402"/>
            <ac:spMk id="3" creationId="{9CB10ED4-306B-EFAA-0ABD-5E3F619426DD}"/>
          </ac:spMkLst>
        </pc:spChg>
        <pc:spChg chg="del">
          <ac:chgData name="Chunyen Li (李 俊諺)" userId="40660eec-0f7d-4f76-820a-6b6c2202dd67" providerId="ADAL" clId="{27675839-2FA2-552B-B863-17B94EBDFF3D}" dt="2026-07-17T05:23:47.952" v="4032" actId="478"/>
          <ac:spMkLst>
            <pc:docMk/>
            <pc:sldMk cId="398319340" sldId="402"/>
            <ac:spMk id="4" creationId="{14A37D17-CBF5-E5D8-0D7D-B977EE1667A0}"/>
          </ac:spMkLst>
        </pc:spChg>
        <pc:spChg chg="add mod">
          <ac:chgData name="Chunyen Li (李 俊諺)" userId="40660eec-0f7d-4f76-820a-6b6c2202dd67" providerId="ADAL" clId="{27675839-2FA2-552B-B863-17B94EBDFF3D}" dt="2026-07-17T05:25:55.808" v="4092" actId="1076"/>
          <ac:spMkLst>
            <pc:docMk/>
            <pc:sldMk cId="398319340" sldId="402"/>
            <ac:spMk id="6" creationId="{7C863607-D22A-E1C2-73C7-74F63FF78F58}"/>
          </ac:spMkLst>
        </pc:spChg>
        <pc:spChg chg="add mod">
          <ac:chgData name="Chunyen Li (李 俊諺)" userId="40660eec-0f7d-4f76-820a-6b6c2202dd67" providerId="ADAL" clId="{27675839-2FA2-552B-B863-17B94EBDFF3D}" dt="2026-07-17T05:25:55.808" v="4092" actId="1076"/>
          <ac:spMkLst>
            <pc:docMk/>
            <pc:sldMk cId="398319340" sldId="402"/>
            <ac:spMk id="7" creationId="{364CB7E8-2C60-D962-057A-DFBC2FA043C2}"/>
          </ac:spMkLst>
        </pc:spChg>
        <pc:spChg chg="add mod">
          <ac:chgData name="Chunyen Li (李 俊諺)" userId="40660eec-0f7d-4f76-820a-6b6c2202dd67" providerId="ADAL" clId="{27675839-2FA2-552B-B863-17B94EBDFF3D}" dt="2026-07-17T05:25:55.808" v="4092" actId="1076"/>
          <ac:spMkLst>
            <pc:docMk/>
            <pc:sldMk cId="398319340" sldId="402"/>
            <ac:spMk id="8" creationId="{99C74464-DC7A-502A-4064-AB0A1AF3DF3C}"/>
          </ac:spMkLst>
        </pc:spChg>
        <pc:spChg chg="add mod">
          <ac:chgData name="Chunyen Li (李 俊諺)" userId="40660eec-0f7d-4f76-820a-6b6c2202dd67" providerId="ADAL" clId="{27675839-2FA2-552B-B863-17B94EBDFF3D}" dt="2026-07-17T05:25:55.808" v="4092" actId="1076"/>
          <ac:spMkLst>
            <pc:docMk/>
            <pc:sldMk cId="398319340" sldId="402"/>
            <ac:spMk id="9" creationId="{3AE0DB81-2305-D2C2-8BEE-02E90C53728E}"/>
          </ac:spMkLst>
        </pc:spChg>
        <pc:spChg chg="add mod">
          <ac:chgData name="Chunyen Li (李 俊諺)" userId="40660eec-0f7d-4f76-820a-6b6c2202dd67" providerId="ADAL" clId="{27675839-2FA2-552B-B863-17B94EBDFF3D}" dt="2026-07-17T05:25:55.808" v="4092" actId="1076"/>
          <ac:spMkLst>
            <pc:docMk/>
            <pc:sldMk cId="398319340" sldId="402"/>
            <ac:spMk id="10" creationId="{268D74F4-0C23-0618-152B-05A94CF9BCA5}"/>
          </ac:spMkLst>
        </pc:spChg>
        <pc:spChg chg="add mod">
          <ac:chgData name="Chunyen Li (李 俊諺)" userId="40660eec-0f7d-4f76-820a-6b6c2202dd67" providerId="ADAL" clId="{27675839-2FA2-552B-B863-17B94EBDFF3D}" dt="2026-07-17T05:25:55.808" v="4092" actId="1076"/>
          <ac:spMkLst>
            <pc:docMk/>
            <pc:sldMk cId="398319340" sldId="402"/>
            <ac:spMk id="11" creationId="{1C2D4E58-6CD9-96AD-EE70-DCD6285820BF}"/>
          </ac:spMkLst>
        </pc:spChg>
        <pc:spChg chg="add mod">
          <ac:chgData name="Chunyen Li (李 俊諺)" userId="40660eec-0f7d-4f76-820a-6b6c2202dd67" providerId="ADAL" clId="{27675839-2FA2-552B-B863-17B94EBDFF3D}" dt="2026-07-17T05:25:55.808" v="4092" actId="1076"/>
          <ac:spMkLst>
            <pc:docMk/>
            <pc:sldMk cId="398319340" sldId="402"/>
            <ac:spMk id="12" creationId="{B8B4EB92-1356-0FC6-B85A-4EC9DEF4EF96}"/>
          </ac:spMkLst>
        </pc:spChg>
        <pc:spChg chg="add mod">
          <ac:chgData name="Chunyen Li (李 俊諺)" userId="40660eec-0f7d-4f76-820a-6b6c2202dd67" providerId="ADAL" clId="{27675839-2FA2-552B-B863-17B94EBDFF3D}" dt="2026-07-17T05:25:55.808" v="4092" actId="1076"/>
          <ac:spMkLst>
            <pc:docMk/>
            <pc:sldMk cId="398319340" sldId="402"/>
            <ac:spMk id="13" creationId="{A36BC485-CA80-01CC-7E02-F5EE783B396F}"/>
          </ac:spMkLst>
        </pc:spChg>
        <pc:picChg chg="add mod">
          <ac:chgData name="Chunyen Li (李 俊諺)" userId="40660eec-0f7d-4f76-820a-6b6c2202dd67" providerId="ADAL" clId="{27675839-2FA2-552B-B863-17B94EBDFF3D}" dt="2026-07-17T05:25:55.808" v="4092" actId="1076"/>
          <ac:picMkLst>
            <pc:docMk/>
            <pc:sldMk cId="398319340" sldId="402"/>
            <ac:picMk id="5" creationId="{93A0FC35-06C1-286B-4619-DD1E35184509}"/>
          </ac:picMkLst>
        </pc:picChg>
        <pc:picChg chg="add del mod">
          <ac:chgData name="Chunyen Li (李 俊諺)" userId="40660eec-0f7d-4f76-820a-6b6c2202dd67" providerId="ADAL" clId="{27675839-2FA2-552B-B863-17B94EBDFF3D}" dt="2026-07-17T05:26:05.719" v="4098" actId="21"/>
          <ac:picMkLst>
            <pc:docMk/>
            <pc:sldMk cId="398319340" sldId="402"/>
            <ac:picMk id="14" creationId="{6432B532-1F63-2CF0-F9D3-D42D5CB37ED1}"/>
          </ac:picMkLst>
        </pc:picChg>
      </pc:sldChg>
      <pc:sldChg chg="add del ord">
        <pc:chgData name="Chunyen Li (李 俊諺)" userId="40660eec-0f7d-4f76-820a-6b6c2202dd67" providerId="ADAL" clId="{27675839-2FA2-552B-B863-17B94EBDFF3D}" dt="2026-07-17T09:30:01.132" v="6534" actId="2696"/>
        <pc:sldMkLst>
          <pc:docMk/>
          <pc:sldMk cId="3897897918" sldId="403"/>
        </pc:sldMkLst>
      </pc:sldChg>
      <pc:sldChg chg="addSp delSp modSp add mod modNotesTx">
        <pc:chgData name="Chunyen Li (李 俊諺)" userId="40660eec-0f7d-4f76-820a-6b6c2202dd67" providerId="ADAL" clId="{27675839-2FA2-552B-B863-17B94EBDFF3D}" dt="2026-07-17T21:33:16.507" v="9022" actId="20577"/>
        <pc:sldMkLst>
          <pc:docMk/>
          <pc:sldMk cId="1404628976" sldId="404"/>
        </pc:sldMkLst>
        <pc:spChg chg="mod">
          <ac:chgData name="Chunyen Li (李 俊諺)" userId="40660eec-0f7d-4f76-820a-6b6c2202dd67" providerId="ADAL" clId="{27675839-2FA2-552B-B863-17B94EBDFF3D}" dt="2026-07-17T06:16:26.088" v="4621" actId="20577"/>
          <ac:spMkLst>
            <pc:docMk/>
            <pc:sldMk cId="1404628976" sldId="404"/>
            <ac:spMk id="2" creationId="{975B11AB-0D39-E9BE-78E5-D85EE01A1014}"/>
          </ac:spMkLst>
        </pc:spChg>
        <pc:spChg chg="add mod">
          <ac:chgData name="Chunyen Li (李 俊諺)" userId="40660eec-0f7d-4f76-820a-6b6c2202dd67" providerId="ADAL" clId="{27675839-2FA2-552B-B863-17B94EBDFF3D}" dt="2026-07-17T06:23:10.124" v="4731" actId="1035"/>
          <ac:spMkLst>
            <pc:docMk/>
            <pc:sldMk cId="1404628976" sldId="404"/>
            <ac:spMk id="5" creationId="{98191F99-009F-7040-2D3D-24B1D4C96996}"/>
          </ac:spMkLst>
        </pc:spChg>
        <pc:spChg chg="add mod">
          <ac:chgData name="Chunyen Li (李 俊諺)" userId="40660eec-0f7d-4f76-820a-6b6c2202dd67" providerId="ADAL" clId="{27675839-2FA2-552B-B863-17B94EBDFF3D}" dt="2026-07-17T06:23:10.124" v="4731" actId="1035"/>
          <ac:spMkLst>
            <pc:docMk/>
            <pc:sldMk cId="1404628976" sldId="404"/>
            <ac:spMk id="6" creationId="{966E0C56-7AB9-70F9-BB49-4BB6BDF1480F}"/>
          </ac:spMkLst>
        </pc:spChg>
        <pc:spChg chg="add mod">
          <ac:chgData name="Chunyen Li (李 俊諺)" userId="40660eec-0f7d-4f76-820a-6b6c2202dd67" providerId="ADAL" clId="{27675839-2FA2-552B-B863-17B94EBDFF3D}" dt="2026-07-17T06:23:10.124" v="4731" actId="1035"/>
          <ac:spMkLst>
            <pc:docMk/>
            <pc:sldMk cId="1404628976" sldId="404"/>
            <ac:spMk id="7" creationId="{02BFBE35-1E0E-3ED3-013E-54895AC5ABD2}"/>
          </ac:spMkLst>
        </pc:spChg>
        <pc:spChg chg="add mod">
          <ac:chgData name="Chunyen Li (李 俊諺)" userId="40660eec-0f7d-4f76-820a-6b6c2202dd67" providerId="ADAL" clId="{27675839-2FA2-552B-B863-17B94EBDFF3D}" dt="2026-07-17T06:23:10.124" v="4731" actId="1035"/>
          <ac:spMkLst>
            <pc:docMk/>
            <pc:sldMk cId="1404628976" sldId="404"/>
            <ac:spMk id="8" creationId="{02E6DAE8-D824-B95F-F6FD-6F12633E832A}"/>
          </ac:spMkLst>
        </pc:spChg>
        <pc:spChg chg="add mod">
          <ac:chgData name="Chunyen Li (李 俊諺)" userId="40660eec-0f7d-4f76-820a-6b6c2202dd67" providerId="ADAL" clId="{27675839-2FA2-552B-B863-17B94EBDFF3D}" dt="2026-07-17T06:23:10.124" v="4731" actId="1035"/>
          <ac:spMkLst>
            <pc:docMk/>
            <pc:sldMk cId="1404628976" sldId="404"/>
            <ac:spMk id="9" creationId="{BD5B8EDC-3F0C-2B53-4EFF-27F92A456831}"/>
          </ac:spMkLst>
        </pc:spChg>
        <pc:spChg chg="add del mod">
          <ac:chgData name="Chunyen Li (李 俊諺)" userId="40660eec-0f7d-4f76-820a-6b6c2202dd67" providerId="ADAL" clId="{27675839-2FA2-552B-B863-17B94EBDFF3D}" dt="2026-07-17T06:02:40.972" v="4389"/>
          <ac:spMkLst>
            <pc:docMk/>
            <pc:sldMk cId="1404628976" sldId="404"/>
            <ac:spMk id="10" creationId="{3AE6ECEC-289A-5148-D138-5E518FAE4380}"/>
          </ac:spMkLst>
        </pc:spChg>
        <pc:spChg chg="add mod">
          <ac:chgData name="Chunyen Li (李 俊諺)" userId="40660eec-0f7d-4f76-820a-6b6c2202dd67" providerId="ADAL" clId="{27675839-2FA2-552B-B863-17B94EBDFF3D}" dt="2026-07-17T06:23:10.124" v="4731" actId="1035"/>
          <ac:spMkLst>
            <pc:docMk/>
            <pc:sldMk cId="1404628976" sldId="404"/>
            <ac:spMk id="11" creationId="{2B617608-8BE9-8DA5-AFD6-2F1CA2CE8F13}"/>
          </ac:spMkLst>
        </pc:spChg>
        <pc:spChg chg="add mod">
          <ac:chgData name="Chunyen Li (李 俊諺)" userId="40660eec-0f7d-4f76-820a-6b6c2202dd67" providerId="ADAL" clId="{27675839-2FA2-552B-B863-17B94EBDFF3D}" dt="2026-07-17T06:23:10.124" v="4731" actId="1035"/>
          <ac:spMkLst>
            <pc:docMk/>
            <pc:sldMk cId="1404628976" sldId="404"/>
            <ac:spMk id="13" creationId="{8C8B6253-5920-DF3D-9654-E8663E1EB349}"/>
          </ac:spMkLst>
        </pc:spChg>
        <pc:spChg chg="add mod">
          <ac:chgData name="Chunyen Li (李 俊諺)" userId="40660eec-0f7d-4f76-820a-6b6c2202dd67" providerId="ADAL" clId="{27675839-2FA2-552B-B863-17B94EBDFF3D}" dt="2026-07-17T06:23:10.124" v="4731" actId="1035"/>
          <ac:spMkLst>
            <pc:docMk/>
            <pc:sldMk cId="1404628976" sldId="404"/>
            <ac:spMk id="16" creationId="{2D665E84-D2F3-ABD8-FAC6-F7232046F11F}"/>
          </ac:spMkLst>
        </pc:spChg>
        <pc:spChg chg="del mod">
          <ac:chgData name="Chunyen Li (李 俊諺)" userId="40660eec-0f7d-4f76-820a-6b6c2202dd67" providerId="ADAL" clId="{27675839-2FA2-552B-B863-17B94EBDFF3D}" dt="2026-07-17T06:23:50.395" v="4737" actId="478"/>
          <ac:spMkLst>
            <pc:docMk/>
            <pc:sldMk cId="1404628976" sldId="404"/>
            <ac:spMk id="17" creationId="{C16BD8AD-2A37-C653-EF03-3A6262CA01B2}"/>
          </ac:spMkLst>
        </pc:spChg>
        <pc:spChg chg="add mod">
          <ac:chgData name="Chunyen Li (李 俊諺)" userId="40660eec-0f7d-4f76-820a-6b6c2202dd67" providerId="ADAL" clId="{27675839-2FA2-552B-B863-17B94EBDFF3D}" dt="2026-07-17T06:23:10.124" v="4731" actId="1035"/>
          <ac:spMkLst>
            <pc:docMk/>
            <pc:sldMk cId="1404628976" sldId="404"/>
            <ac:spMk id="21" creationId="{6FF78196-7705-39B0-EFB1-352F4040DF2B}"/>
          </ac:spMkLst>
        </pc:spChg>
        <pc:spChg chg="add mod">
          <ac:chgData name="Chunyen Li (李 俊諺)" userId="40660eec-0f7d-4f76-820a-6b6c2202dd67" providerId="ADAL" clId="{27675839-2FA2-552B-B863-17B94EBDFF3D}" dt="2026-07-17T06:23:10.124" v="4731" actId="1035"/>
          <ac:spMkLst>
            <pc:docMk/>
            <pc:sldMk cId="1404628976" sldId="404"/>
            <ac:spMk id="22" creationId="{13ED08CF-C37C-0531-A535-497227C36D17}"/>
          </ac:spMkLst>
        </pc:spChg>
        <pc:spChg chg="del">
          <ac:chgData name="Chunyen Li (李 俊諺)" userId="40660eec-0f7d-4f76-820a-6b6c2202dd67" providerId="ADAL" clId="{27675839-2FA2-552B-B863-17B94EBDFF3D}" dt="2026-07-17T05:40:06.165" v="4324" actId="478"/>
          <ac:spMkLst>
            <pc:docMk/>
            <pc:sldMk cId="1404628976" sldId="404"/>
            <ac:spMk id="32" creationId="{70E78931-C02A-4BDC-8DF8-0572919218C3}"/>
          </ac:spMkLst>
        </pc:spChg>
        <pc:spChg chg="del">
          <ac:chgData name="Chunyen Li (李 俊諺)" userId="40660eec-0f7d-4f76-820a-6b6c2202dd67" providerId="ADAL" clId="{27675839-2FA2-552B-B863-17B94EBDFF3D}" dt="2026-07-17T05:40:06.165" v="4324" actId="478"/>
          <ac:spMkLst>
            <pc:docMk/>
            <pc:sldMk cId="1404628976" sldId="404"/>
            <ac:spMk id="33" creationId="{B3C951E5-630B-95BC-6277-63F0EB948407}"/>
          </ac:spMkLst>
        </pc:spChg>
        <pc:spChg chg="del">
          <ac:chgData name="Chunyen Li (李 俊諺)" userId="40660eec-0f7d-4f76-820a-6b6c2202dd67" providerId="ADAL" clId="{27675839-2FA2-552B-B863-17B94EBDFF3D}" dt="2026-07-17T05:40:06.165" v="4324" actId="478"/>
          <ac:spMkLst>
            <pc:docMk/>
            <pc:sldMk cId="1404628976" sldId="404"/>
            <ac:spMk id="34" creationId="{CA392829-D9E6-D932-2954-BF33E982F7D3}"/>
          </ac:spMkLst>
        </pc:spChg>
        <pc:spChg chg="mod">
          <ac:chgData name="Chunyen Li (李 俊諺)" userId="40660eec-0f7d-4f76-820a-6b6c2202dd67" providerId="ADAL" clId="{27675839-2FA2-552B-B863-17B94EBDFF3D}" dt="2026-07-17T21:33:16.507" v="9022" actId="20577"/>
          <ac:spMkLst>
            <pc:docMk/>
            <pc:sldMk cId="1404628976" sldId="404"/>
            <ac:spMk id="38" creationId="{A651A7B3-7E01-FE61-A8D7-D2608F700EC8}"/>
          </ac:spMkLst>
        </pc:spChg>
        <pc:spChg chg="del">
          <ac:chgData name="Chunyen Li (李 俊諺)" userId="40660eec-0f7d-4f76-820a-6b6c2202dd67" providerId="ADAL" clId="{27675839-2FA2-552B-B863-17B94EBDFF3D}" dt="2026-07-17T05:40:06.165" v="4324" actId="478"/>
          <ac:spMkLst>
            <pc:docMk/>
            <pc:sldMk cId="1404628976" sldId="404"/>
            <ac:spMk id="39" creationId="{5080FC4A-5D17-B240-B96D-E5968EEDFD86}"/>
          </ac:spMkLst>
        </pc:spChg>
        <pc:spChg chg="del">
          <ac:chgData name="Chunyen Li (李 俊諺)" userId="40660eec-0f7d-4f76-820a-6b6c2202dd67" providerId="ADAL" clId="{27675839-2FA2-552B-B863-17B94EBDFF3D}" dt="2026-07-17T05:40:06.165" v="4324" actId="478"/>
          <ac:spMkLst>
            <pc:docMk/>
            <pc:sldMk cId="1404628976" sldId="404"/>
            <ac:spMk id="40" creationId="{749C1858-CA49-E7F8-B134-C40EA01155EC}"/>
          </ac:spMkLst>
        </pc:spChg>
        <pc:spChg chg="del">
          <ac:chgData name="Chunyen Li (李 俊諺)" userId="40660eec-0f7d-4f76-820a-6b6c2202dd67" providerId="ADAL" clId="{27675839-2FA2-552B-B863-17B94EBDFF3D}" dt="2026-07-17T05:40:06.165" v="4324" actId="478"/>
          <ac:spMkLst>
            <pc:docMk/>
            <pc:sldMk cId="1404628976" sldId="404"/>
            <ac:spMk id="43" creationId="{1857E8A8-74DF-9BC4-F007-19D51823638B}"/>
          </ac:spMkLst>
        </pc:spChg>
        <pc:spChg chg="del">
          <ac:chgData name="Chunyen Li (李 俊諺)" userId="40660eec-0f7d-4f76-820a-6b6c2202dd67" providerId="ADAL" clId="{27675839-2FA2-552B-B863-17B94EBDFF3D}" dt="2026-07-17T05:40:06.165" v="4324" actId="478"/>
          <ac:spMkLst>
            <pc:docMk/>
            <pc:sldMk cId="1404628976" sldId="404"/>
            <ac:spMk id="44" creationId="{799E87B5-485A-D7BD-1D91-BF6045FE587C}"/>
          </ac:spMkLst>
        </pc:spChg>
        <pc:spChg chg="del">
          <ac:chgData name="Chunyen Li (李 俊諺)" userId="40660eec-0f7d-4f76-820a-6b6c2202dd67" providerId="ADAL" clId="{27675839-2FA2-552B-B863-17B94EBDFF3D}" dt="2026-07-17T05:40:06.165" v="4324" actId="478"/>
          <ac:spMkLst>
            <pc:docMk/>
            <pc:sldMk cId="1404628976" sldId="404"/>
            <ac:spMk id="45" creationId="{58E1B1BF-63F8-D6CB-943C-5AD1C5245823}"/>
          </ac:spMkLst>
        </pc:spChg>
        <pc:spChg chg="mod">
          <ac:chgData name="Chunyen Li (李 俊諺)" userId="40660eec-0f7d-4f76-820a-6b6c2202dd67" providerId="ADAL" clId="{27675839-2FA2-552B-B863-17B94EBDFF3D}" dt="2026-07-17T06:23:30.526" v="4735" actId="1035"/>
          <ac:spMkLst>
            <pc:docMk/>
            <pc:sldMk cId="1404628976" sldId="404"/>
            <ac:spMk id="91" creationId="{F06EFFAB-EA9A-8109-BC55-CBE36B95C259}"/>
          </ac:spMkLst>
        </pc:spChg>
        <pc:picChg chg="add mod">
          <ac:chgData name="Chunyen Li (李 俊諺)" userId="40660eec-0f7d-4f76-820a-6b6c2202dd67" providerId="ADAL" clId="{27675839-2FA2-552B-B863-17B94EBDFF3D}" dt="2026-07-17T06:11:55.886" v="4601" actId="1076"/>
          <ac:picMkLst>
            <pc:docMk/>
            <pc:sldMk cId="1404628976" sldId="404"/>
            <ac:picMk id="4" creationId="{8EF636E0-9A7A-5978-D4CD-953CA259634A}"/>
          </ac:picMkLst>
        </pc:picChg>
        <pc:picChg chg="del">
          <ac:chgData name="Chunyen Li (李 俊諺)" userId="40660eec-0f7d-4f76-820a-6b6c2202dd67" providerId="ADAL" clId="{27675839-2FA2-552B-B863-17B94EBDFF3D}" dt="2026-07-17T05:40:06.165" v="4324" actId="478"/>
          <ac:picMkLst>
            <pc:docMk/>
            <pc:sldMk cId="1404628976" sldId="404"/>
            <ac:picMk id="26" creationId="{A2CC5F83-A23C-A539-C835-D209B3303B3A}"/>
          </ac:picMkLst>
        </pc:picChg>
        <pc:picChg chg="del">
          <ac:chgData name="Chunyen Li (李 俊諺)" userId="40660eec-0f7d-4f76-820a-6b6c2202dd67" providerId="ADAL" clId="{27675839-2FA2-552B-B863-17B94EBDFF3D}" dt="2026-07-17T05:40:06.165" v="4324" actId="478"/>
          <ac:picMkLst>
            <pc:docMk/>
            <pc:sldMk cId="1404628976" sldId="404"/>
            <ac:picMk id="36" creationId="{5AFCB3DB-000C-F29D-A5CB-E7E0D07BAC1F}"/>
          </ac:picMkLst>
        </pc:picChg>
        <pc:cxnChg chg="del mod">
          <ac:chgData name="Chunyen Li (李 俊諺)" userId="40660eec-0f7d-4f76-820a-6b6c2202dd67" providerId="ADAL" clId="{27675839-2FA2-552B-B863-17B94EBDFF3D}" dt="2026-07-17T06:23:50.395" v="4737" actId="478"/>
          <ac:cxnSpMkLst>
            <pc:docMk/>
            <pc:sldMk cId="1404628976" sldId="404"/>
            <ac:cxnSpMk id="18" creationId="{A52B9531-9D6A-6EAF-1472-50FCEF0B3E06}"/>
          </ac:cxnSpMkLst>
        </pc:cxnChg>
        <pc:cxnChg chg="mod">
          <ac:chgData name="Chunyen Li (李 俊諺)" userId="40660eec-0f7d-4f76-820a-6b6c2202dd67" providerId="ADAL" clId="{27675839-2FA2-552B-B863-17B94EBDFF3D}" dt="2026-07-17T06:23:30.526" v="4735" actId="1035"/>
          <ac:cxnSpMkLst>
            <pc:docMk/>
            <pc:sldMk cId="1404628976" sldId="404"/>
            <ac:cxnSpMk id="92" creationId="{1DA9EC1D-56DE-5CBB-5406-98F9F3E499FA}"/>
          </ac:cxnSpMkLst>
        </pc:cxnChg>
      </pc:sldChg>
      <pc:sldChg chg="addSp delSp modSp add mod ord">
        <pc:chgData name="Chunyen Li (李 俊諺)" userId="40660eec-0f7d-4f76-820a-6b6c2202dd67" providerId="ADAL" clId="{27675839-2FA2-552B-B863-17B94EBDFF3D}" dt="2026-07-17T09:27:25.528" v="6513" actId="20577"/>
        <pc:sldMkLst>
          <pc:docMk/>
          <pc:sldMk cId="1916662790" sldId="405"/>
        </pc:sldMkLst>
        <pc:spChg chg="mod">
          <ac:chgData name="Chunyen Li (李 俊諺)" userId="40660eec-0f7d-4f76-820a-6b6c2202dd67" providerId="ADAL" clId="{27675839-2FA2-552B-B863-17B94EBDFF3D}" dt="2026-07-17T06:30:07.603" v="4771" actId="255"/>
          <ac:spMkLst>
            <pc:docMk/>
            <pc:sldMk cId="1916662790" sldId="405"/>
            <ac:spMk id="2" creationId="{960F705C-461B-8D12-E4D9-29C09E63D7A7}"/>
          </ac:spMkLst>
        </pc:spChg>
        <pc:spChg chg="del mod">
          <ac:chgData name="Chunyen Li (李 俊諺)" userId="40660eec-0f7d-4f76-820a-6b6c2202dd67" providerId="ADAL" clId="{27675839-2FA2-552B-B863-17B94EBDFF3D}" dt="2026-07-17T06:24:02.666" v="4740" actId="478"/>
          <ac:spMkLst>
            <pc:docMk/>
            <pc:sldMk cId="1916662790" sldId="405"/>
            <ac:spMk id="5" creationId="{964B189A-39B7-AFBD-D852-9DD1988BBD06}"/>
          </ac:spMkLst>
        </pc:spChg>
        <pc:spChg chg="del mod">
          <ac:chgData name="Chunyen Li (李 俊諺)" userId="40660eec-0f7d-4f76-820a-6b6c2202dd67" providerId="ADAL" clId="{27675839-2FA2-552B-B863-17B94EBDFF3D}" dt="2026-07-17T06:24:02.666" v="4740" actId="478"/>
          <ac:spMkLst>
            <pc:docMk/>
            <pc:sldMk cId="1916662790" sldId="405"/>
            <ac:spMk id="6" creationId="{82568C25-08C3-8135-F589-ADDE55368DAA}"/>
          </ac:spMkLst>
        </pc:spChg>
        <pc:spChg chg="del mod">
          <ac:chgData name="Chunyen Li (李 俊諺)" userId="40660eec-0f7d-4f76-820a-6b6c2202dd67" providerId="ADAL" clId="{27675839-2FA2-552B-B863-17B94EBDFF3D}" dt="2026-07-17T06:24:02.666" v="4740" actId="478"/>
          <ac:spMkLst>
            <pc:docMk/>
            <pc:sldMk cId="1916662790" sldId="405"/>
            <ac:spMk id="7" creationId="{940C42E1-8755-9FEF-1169-CD8906264E4A}"/>
          </ac:spMkLst>
        </pc:spChg>
        <pc:spChg chg="del mod">
          <ac:chgData name="Chunyen Li (李 俊諺)" userId="40660eec-0f7d-4f76-820a-6b6c2202dd67" providerId="ADAL" clId="{27675839-2FA2-552B-B863-17B94EBDFF3D}" dt="2026-07-17T06:24:02.666" v="4740" actId="478"/>
          <ac:spMkLst>
            <pc:docMk/>
            <pc:sldMk cId="1916662790" sldId="405"/>
            <ac:spMk id="8" creationId="{F39D6C15-F39A-AC92-1498-9B57448A6AB5}"/>
          </ac:spMkLst>
        </pc:spChg>
        <pc:spChg chg="del">
          <ac:chgData name="Chunyen Li (李 俊諺)" userId="40660eec-0f7d-4f76-820a-6b6c2202dd67" providerId="ADAL" clId="{27675839-2FA2-552B-B863-17B94EBDFF3D}" dt="2026-07-17T06:24:02.666" v="4740" actId="478"/>
          <ac:spMkLst>
            <pc:docMk/>
            <pc:sldMk cId="1916662790" sldId="405"/>
            <ac:spMk id="9" creationId="{BABFA661-58C0-C2B1-54C5-1E0B5BCAA05C}"/>
          </ac:spMkLst>
        </pc:spChg>
        <pc:spChg chg="del mod">
          <ac:chgData name="Chunyen Li (李 俊諺)" userId="40660eec-0f7d-4f76-820a-6b6c2202dd67" providerId="ADAL" clId="{27675839-2FA2-552B-B863-17B94EBDFF3D}" dt="2026-07-17T06:24:02.666" v="4740" actId="478"/>
          <ac:spMkLst>
            <pc:docMk/>
            <pc:sldMk cId="1916662790" sldId="405"/>
            <ac:spMk id="11" creationId="{217178A5-EC17-C850-2BBD-A52BA93017E8}"/>
          </ac:spMkLst>
        </pc:spChg>
        <pc:spChg chg="del mod">
          <ac:chgData name="Chunyen Li (李 俊諺)" userId="40660eec-0f7d-4f76-820a-6b6c2202dd67" providerId="ADAL" clId="{27675839-2FA2-552B-B863-17B94EBDFF3D}" dt="2026-07-17T06:24:02.666" v="4740" actId="478"/>
          <ac:spMkLst>
            <pc:docMk/>
            <pc:sldMk cId="1916662790" sldId="405"/>
            <ac:spMk id="13" creationId="{41B166B0-0FA0-96FF-1B9B-EC660ABCBF37}"/>
          </ac:spMkLst>
        </pc:spChg>
        <pc:spChg chg="del mod">
          <ac:chgData name="Chunyen Li (李 俊諺)" userId="40660eec-0f7d-4f76-820a-6b6c2202dd67" providerId="ADAL" clId="{27675839-2FA2-552B-B863-17B94EBDFF3D}" dt="2026-07-17T06:24:02.666" v="4740" actId="478"/>
          <ac:spMkLst>
            <pc:docMk/>
            <pc:sldMk cId="1916662790" sldId="405"/>
            <ac:spMk id="16" creationId="{AAD8FCD6-00F3-25BA-E932-B929175F02C7}"/>
          </ac:spMkLst>
        </pc:spChg>
        <pc:spChg chg="del">
          <ac:chgData name="Chunyen Li (李 俊諺)" userId="40660eec-0f7d-4f76-820a-6b6c2202dd67" providerId="ADAL" clId="{27675839-2FA2-552B-B863-17B94EBDFF3D}" dt="2026-07-17T06:58:58.956" v="5033" actId="478"/>
          <ac:spMkLst>
            <pc:docMk/>
            <pc:sldMk cId="1916662790" sldId="405"/>
            <ac:spMk id="17" creationId="{E5A8291C-9AAD-D041-3594-9369D6936BD7}"/>
          </ac:spMkLst>
        </pc:spChg>
        <pc:spChg chg="add mod">
          <ac:chgData name="Chunyen Li (李 俊諺)" userId="40660eec-0f7d-4f76-820a-6b6c2202dd67" providerId="ADAL" clId="{27675839-2FA2-552B-B863-17B94EBDFF3D}" dt="2026-07-17T06:57:57.583" v="5025" actId="1076"/>
          <ac:spMkLst>
            <pc:docMk/>
            <pc:sldMk cId="1916662790" sldId="405"/>
            <ac:spMk id="19" creationId="{A7EB4C15-7CAC-EA02-8FF8-2BA5616C016C}"/>
          </ac:spMkLst>
        </pc:spChg>
        <pc:spChg chg="del mod">
          <ac:chgData name="Chunyen Li (李 俊諺)" userId="40660eec-0f7d-4f76-820a-6b6c2202dd67" providerId="ADAL" clId="{27675839-2FA2-552B-B863-17B94EBDFF3D}" dt="2026-07-17T06:24:02.666" v="4740" actId="478"/>
          <ac:spMkLst>
            <pc:docMk/>
            <pc:sldMk cId="1916662790" sldId="405"/>
            <ac:spMk id="21" creationId="{05959E27-0A2A-1F57-3118-A91FB6AAAAFD}"/>
          </ac:spMkLst>
        </pc:spChg>
        <pc:spChg chg="del mod">
          <ac:chgData name="Chunyen Li (李 俊諺)" userId="40660eec-0f7d-4f76-820a-6b6c2202dd67" providerId="ADAL" clId="{27675839-2FA2-552B-B863-17B94EBDFF3D}" dt="2026-07-17T06:24:02.666" v="4740" actId="478"/>
          <ac:spMkLst>
            <pc:docMk/>
            <pc:sldMk cId="1916662790" sldId="405"/>
            <ac:spMk id="22" creationId="{71872BAD-55B7-5499-8692-556BF66F5C3C}"/>
          </ac:spMkLst>
        </pc:spChg>
        <pc:spChg chg="add mod">
          <ac:chgData name="Chunyen Li (李 俊諺)" userId="40660eec-0f7d-4f76-820a-6b6c2202dd67" providerId="ADAL" clId="{27675839-2FA2-552B-B863-17B94EBDFF3D}" dt="2026-07-17T06:59:26.320" v="5037" actId="113"/>
          <ac:spMkLst>
            <pc:docMk/>
            <pc:sldMk cId="1916662790" sldId="405"/>
            <ac:spMk id="25" creationId="{137CD7C2-9598-9895-A660-D22E6BBA7B2E}"/>
          </ac:spMkLst>
        </pc:spChg>
        <pc:spChg chg="add mod">
          <ac:chgData name="Chunyen Li (李 俊諺)" userId="40660eec-0f7d-4f76-820a-6b6c2202dd67" providerId="ADAL" clId="{27675839-2FA2-552B-B863-17B94EBDFF3D}" dt="2026-07-17T06:59:42.953" v="5042" actId="14100"/>
          <ac:spMkLst>
            <pc:docMk/>
            <pc:sldMk cId="1916662790" sldId="405"/>
            <ac:spMk id="26" creationId="{A48F242A-EEE8-EE17-D08F-466D12BA2E48}"/>
          </ac:spMkLst>
        </pc:spChg>
        <pc:spChg chg="add mod">
          <ac:chgData name="Chunyen Li (李 俊諺)" userId="40660eec-0f7d-4f76-820a-6b6c2202dd67" providerId="ADAL" clId="{27675839-2FA2-552B-B863-17B94EBDFF3D}" dt="2026-07-17T06:59:35.799" v="5040" actId="113"/>
          <ac:spMkLst>
            <pc:docMk/>
            <pc:sldMk cId="1916662790" sldId="405"/>
            <ac:spMk id="27" creationId="{8B768E54-11BB-FDA5-5BD1-E37C1F9B7CF2}"/>
          </ac:spMkLst>
        </pc:spChg>
        <pc:spChg chg="add mod">
          <ac:chgData name="Chunyen Li (李 俊諺)" userId="40660eec-0f7d-4f76-820a-6b6c2202dd67" providerId="ADAL" clId="{27675839-2FA2-552B-B863-17B94EBDFF3D}" dt="2026-07-17T06:50:33.063" v="4968"/>
          <ac:spMkLst>
            <pc:docMk/>
            <pc:sldMk cId="1916662790" sldId="405"/>
            <ac:spMk id="31" creationId="{A87021C2-4C0D-A551-1177-F271BF0AA812}"/>
          </ac:spMkLst>
        </pc:spChg>
        <pc:spChg chg="mod">
          <ac:chgData name="Chunyen Li (李 俊諺)" userId="40660eec-0f7d-4f76-820a-6b6c2202dd67" providerId="ADAL" clId="{27675839-2FA2-552B-B863-17B94EBDFF3D}" dt="2026-07-17T09:27:25.528" v="6513" actId="20577"/>
          <ac:spMkLst>
            <pc:docMk/>
            <pc:sldMk cId="1916662790" sldId="405"/>
            <ac:spMk id="38" creationId="{51149E3F-F1CA-E59E-3ACB-C1EB9EE454E1}"/>
          </ac:spMkLst>
        </pc:spChg>
        <pc:spChg chg="add del mod">
          <ac:chgData name="Chunyen Li (李 俊諺)" userId="40660eec-0f7d-4f76-820a-6b6c2202dd67" providerId="ADAL" clId="{27675839-2FA2-552B-B863-17B94EBDFF3D}" dt="2026-07-17T07:02:51.845" v="5099"/>
          <ac:spMkLst>
            <pc:docMk/>
            <pc:sldMk cId="1916662790" sldId="405"/>
            <ac:spMk id="42" creationId="{B5C81AC7-F1F4-66CC-5B28-A69F1786B15E}"/>
          </ac:spMkLst>
        </pc:spChg>
        <pc:spChg chg="mod">
          <ac:chgData name="Chunyen Li (李 俊諺)" userId="40660eec-0f7d-4f76-820a-6b6c2202dd67" providerId="ADAL" clId="{27675839-2FA2-552B-B863-17B94EBDFF3D}" dt="2026-07-17T07:03:14.046" v="5100"/>
          <ac:spMkLst>
            <pc:docMk/>
            <pc:sldMk cId="1916662790" sldId="405"/>
            <ac:spMk id="91" creationId="{35B6A221-383D-4242-E271-9904002F288B}"/>
          </ac:spMkLst>
        </pc:spChg>
        <pc:picChg chg="add del mod">
          <ac:chgData name="Chunyen Li (李 俊諺)" userId="40660eec-0f7d-4f76-820a-6b6c2202dd67" providerId="ADAL" clId="{27675839-2FA2-552B-B863-17B94EBDFF3D}" dt="2026-07-17T06:57:17.867" v="5018" actId="478"/>
          <ac:picMkLst>
            <pc:docMk/>
            <pc:sldMk cId="1916662790" sldId="405"/>
            <ac:picMk id="3" creationId="{07565E0F-03A8-3B5C-FD2C-0D7B7343788B}"/>
          </ac:picMkLst>
        </pc:picChg>
        <pc:picChg chg="add mod modCrop">
          <ac:chgData name="Chunyen Li (李 俊諺)" userId="40660eec-0f7d-4f76-820a-6b6c2202dd67" providerId="ADAL" clId="{27675839-2FA2-552B-B863-17B94EBDFF3D}" dt="2026-07-17T06:57:57.583" v="5025" actId="1076"/>
          <ac:picMkLst>
            <pc:docMk/>
            <pc:sldMk cId="1916662790" sldId="405"/>
            <ac:picMk id="10" creationId="{D436979B-75A6-52FD-3517-1D75E4490884}"/>
          </ac:picMkLst>
        </pc:picChg>
        <pc:picChg chg="add del mod">
          <ac:chgData name="Chunyen Li (李 俊諺)" userId="40660eec-0f7d-4f76-820a-6b6c2202dd67" providerId="ADAL" clId="{27675839-2FA2-552B-B863-17B94EBDFF3D}" dt="2026-07-17T06:36:13.672" v="4794" actId="478"/>
          <ac:picMkLst>
            <pc:docMk/>
            <pc:sldMk cId="1916662790" sldId="405"/>
            <ac:picMk id="12" creationId="{50E54E76-5AF3-AC90-7442-6DE31A10DF6C}"/>
          </ac:picMkLst>
        </pc:picChg>
        <pc:picChg chg="add del">
          <ac:chgData name="Chunyen Li (李 俊諺)" userId="40660eec-0f7d-4f76-820a-6b6c2202dd67" providerId="ADAL" clId="{27675839-2FA2-552B-B863-17B94EBDFF3D}" dt="2026-07-17T06:37:29.986" v="4796" actId="478"/>
          <ac:picMkLst>
            <pc:docMk/>
            <pc:sldMk cId="1916662790" sldId="405"/>
            <ac:picMk id="14" creationId="{661829B8-D54C-15C5-72EF-D6D523153BC2}"/>
          </ac:picMkLst>
        </pc:picChg>
        <pc:picChg chg="add del mod">
          <ac:chgData name="Chunyen Li (李 俊諺)" userId="40660eec-0f7d-4f76-820a-6b6c2202dd67" providerId="ADAL" clId="{27675839-2FA2-552B-B863-17B94EBDFF3D}" dt="2026-07-17T06:57:17.595" v="5017" actId="478"/>
          <ac:picMkLst>
            <pc:docMk/>
            <pc:sldMk cId="1916662790" sldId="405"/>
            <ac:picMk id="23" creationId="{4C8A8D78-508C-8C24-61ED-F19BA207E4E0}"/>
          </ac:picMkLst>
        </pc:picChg>
        <pc:cxnChg chg="del">
          <ac:chgData name="Chunyen Li (李 俊諺)" userId="40660eec-0f7d-4f76-820a-6b6c2202dd67" providerId="ADAL" clId="{27675839-2FA2-552B-B863-17B94EBDFF3D}" dt="2026-07-17T06:58:58.956" v="5033" actId="478"/>
          <ac:cxnSpMkLst>
            <pc:docMk/>
            <pc:sldMk cId="1916662790" sldId="405"/>
            <ac:cxnSpMk id="18" creationId="{D08C4B09-AEE5-4EB0-E0A2-812449D56B29}"/>
          </ac:cxnSpMkLst>
        </pc:cxnChg>
        <pc:cxnChg chg="add mod">
          <ac:chgData name="Chunyen Li (李 俊諺)" userId="40660eec-0f7d-4f76-820a-6b6c2202dd67" providerId="ADAL" clId="{27675839-2FA2-552B-B863-17B94EBDFF3D}" dt="2026-07-17T06:57:57.583" v="5025" actId="1076"/>
          <ac:cxnSpMkLst>
            <pc:docMk/>
            <pc:sldMk cId="1916662790" sldId="405"/>
            <ac:cxnSpMk id="29" creationId="{2FF55CAE-4A2B-A441-8917-40EC14E425F9}"/>
          </ac:cxnSpMkLst>
        </pc:cxnChg>
        <pc:cxnChg chg="add mod">
          <ac:chgData name="Chunyen Li (李 俊諺)" userId="40660eec-0f7d-4f76-820a-6b6c2202dd67" providerId="ADAL" clId="{27675839-2FA2-552B-B863-17B94EBDFF3D}" dt="2026-07-17T06:50:33.063" v="4968"/>
          <ac:cxnSpMkLst>
            <pc:docMk/>
            <pc:sldMk cId="1916662790" sldId="405"/>
            <ac:cxnSpMk id="32" creationId="{A01ECAB2-F2BF-F424-CB0E-F46E6B9058FA}"/>
          </ac:cxnSpMkLst>
        </pc:cxnChg>
        <pc:cxnChg chg="add mod">
          <ac:chgData name="Chunyen Li (李 俊諺)" userId="40660eec-0f7d-4f76-820a-6b6c2202dd67" providerId="ADAL" clId="{27675839-2FA2-552B-B863-17B94EBDFF3D}" dt="2026-07-17T06:57:57.583" v="5025" actId="1076"/>
          <ac:cxnSpMkLst>
            <pc:docMk/>
            <pc:sldMk cId="1916662790" sldId="405"/>
            <ac:cxnSpMk id="33" creationId="{2133173D-1F96-5165-90B9-99669A40FD07}"/>
          </ac:cxnSpMkLst>
        </pc:cxnChg>
        <pc:cxnChg chg="add mod">
          <ac:chgData name="Chunyen Li (李 俊諺)" userId="40660eec-0f7d-4f76-820a-6b6c2202dd67" providerId="ADAL" clId="{27675839-2FA2-552B-B863-17B94EBDFF3D}" dt="2026-07-17T06:57:57.583" v="5025" actId="1076"/>
          <ac:cxnSpMkLst>
            <pc:docMk/>
            <pc:sldMk cId="1916662790" sldId="405"/>
            <ac:cxnSpMk id="35" creationId="{4A17EC78-E64A-7CD5-1107-C56424B322AA}"/>
          </ac:cxnSpMkLst>
        </pc:cxnChg>
        <pc:cxnChg chg="mod">
          <ac:chgData name="Chunyen Li (李 俊諺)" userId="40660eec-0f7d-4f76-820a-6b6c2202dd67" providerId="ADAL" clId="{27675839-2FA2-552B-B863-17B94EBDFF3D}" dt="2026-07-17T06:57:51.063" v="5024" actId="1076"/>
          <ac:cxnSpMkLst>
            <pc:docMk/>
            <pc:sldMk cId="1916662790" sldId="405"/>
            <ac:cxnSpMk id="92" creationId="{D0B48DF2-D87F-FB54-3688-AEA1FBE5337A}"/>
          </ac:cxnSpMkLst>
        </pc:cxnChg>
      </pc:sldChg>
      <pc:sldChg chg="addSp delSp modSp add mod ord">
        <pc:chgData name="Chunyen Li (李 俊諺)" userId="40660eec-0f7d-4f76-820a-6b6c2202dd67" providerId="ADAL" clId="{27675839-2FA2-552B-B863-17B94EBDFF3D}" dt="2026-07-17T11:41:12.132" v="7016" actId="13926"/>
        <pc:sldMkLst>
          <pc:docMk/>
          <pc:sldMk cId="2092753690" sldId="406"/>
        </pc:sldMkLst>
        <pc:spChg chg="mod">
          <ac:chgData name="Chunyen Li (李 俊諺)" userId="40660eec-0f7d-4f76-820a-6b6c2202dd67" providerId="ADAL" clId="{27675839-2FA2-552B-B863-17B94EBDFF3D}" dt="2026-07-17T08:29:58.900" v="6016" actId="20577"/>
          <ac:spMkLst>
            <pc:docMk/>
            <pc:sldMk cId="2092753690" sldId="406"/>
            <ac:spMk id="2" creationId="{3690A6E8-346E-9418-90C5-6DDC1AB7B73D}"/>
          </ac:spMkLst>
        </pc:spChg>
        <pc:spChg chg="add mod">
          <ac:chgData name="Chunyen Li (李 俊諺)" userId="40660eec-0f7d-4f76-820a-6b6c2202dd67" providerId="ADAL" clId="{27675839-2FA2-552B-B863-17B94EBDFF3D}" dt="2026-07-17T08:46:03.039" v="6173" actId="1076"/>
          <ac:spMkLst>
            <pc:docMk/>
            <pc:sldMk cId="2092753690" sldId="406"/>
            <ac:spMk id="9" creationId="{D4BE5F85-B01D-3274-6056-58F096AAAC08}"/>
          </ac:spMkLst>
        </pc:spChg>
        <pc:spChg chg="add mod">
          <ac:chgData name="Chunyen Li (李 俊諺)" userId="40660eec-0f7d-4f76-820a-6b6c2202dd67" providerId="ADAL" clId="{27675839-2FA2-552B-B863-17B94EBDFF3D}" dt="2026-07-17T08:46:13.236" v="6178" actId="1076"/>
          <ac:spMkLst>
            <pc:docMk/>
            <pc:sldMk cId="2092753690" sldId="406"/>
            <ac:spMk id="11" creationId="{CE385DA2-F98C-DF3A-1CFC-DFE338CF02EE}"/>
          </ac:spMkLst>
        </pc:spChg>
        <pc:spChg chg="add mod">
          <ac:chgData name="Chunyen Li (李 俊諺)" userId="40660eec-0f7d-4f76-820a-6b6c2202dd67" providerId="ADAL" clId="{27675839-2FA2-552B-B863-17B94EBDFF3D}" dt="2026-07-17T08:46:05.448" v="6174" actId="1076"/>
          <ac:spMkLst>
            <pc:docMk/>
            <pc:sldMk cId="2092753690" sldId="406"/>
            <ac:spMk id="12" creationId="{AFDBDE6C-96D9-0FF6-227C-C0987191181A}"/>
          </ac:spMkLst>
        </pc:spChg>
        <pc:spChg chg="add del mod">
          <ac:chgData name="Chunyen Li (李 俊諺)" userId="40660eec-0f7d-4f76-820a-6b6c2202dd67" providerId="ADAL" clId="{27675839-2FA2-552B-B863-17B94EBDFF3D}" dt="2026-07-17T08:46:07.175" v="6175" actId="478"/>
          <ac:spMkLst>
            <pc:docMk/>
            <pc:sldMk cId="2092753690" sldId="406"/>
            <ac:spMk id="13" creationId="{017E358D-B731-E9E1-5E4A-A329B3637D17}"/>
          </ac:spMkLst>
        </pc:spChg>
        <pc:spChg chg="add mod">
          <ac:chgData name="Chunyen Li (李 俊諺)" userId="40660eec-0f7d-4f76-820a-6b6c2202dd67" providerId="ADAL" clId="{27675839-2FA2-552B-B863-17B94EBDFF3D}" dt="2026-07-17T08:46:11.520" v="6177" actId="1076"/>
          <ac:spMkLst>
            <pc:docMk/>
            <pc:sldMk cId="2092753690" sldId="406"/>
            <ac:spMk id="14" creationId="{FE260F58-56C8-1DF0-02E1-52FF68AB7869}"/>
          </ac:spMkLst>
        </pc:spChg>
        <pc:spChg chg="del">
          <ac:chgData name="Chunyen Li (李 俊諺)" userId="40660eec-0f7d-4f76-820a-6b6c2202dd67" providerId="ADAL" clId="{27675839-2FA2-552B-B863-17B94EBDFF3D}" dt="2026-07-17T08:37:24.694" v="6138" actId="478"/>
          <ac:spMkLst>
            <pc:docMk/>
            <pc:sldMk cId="2092753690" sldId="406"/>
            <ac:spMk id="17" creationId="{A1B6A554-B462-BD05-7A63-B8AF943FAD38}"/>
          </ac:spMkLst>
        </pc:spChg>
        <pc:spChg chg="del">
          <ac:chgData name="Chunyen Li (李 俊諺)" userId="40660eec-0f7d-4f76-820a-6b6c2202dd67" providerId="ADAL" clId="{27675839-2FA2-552B-B863-17B94EBDFF3D}" dt="2026-07-17T06:58:23.851" v="5032" actId="478"/>
          <ac:spMkLst>
            <pc:docMk/>
            <pc:sldMk cId="2092753690" sldId="406"/>
            <ac:spMk id="19" creationId="{8C23FF78-8628-11D2-B39A-5D228CF54351}"/>
          </ac:spMkLst>
        </pc:spChg>
        <pc:spChg chg="del">
          <ac:chgData name="Chunyen Li (李 俊諺)" userId="40660eec-0f7d-4f76-820a-6b6c2202dd67" providerId="ADAL" clId="{27675839-2FA2-552B-B863-17B94EBDFF3D}" dt="2026-07-17T06:58:23.851" v="5032" actId="478"/>
          <ac:spMkLst>
            <pc:docMk/>
            <pc:sldMk cId="2092753690" sldId="406"/>
            <ac:spMk id="25" creationId="{3811FE39-58DE-0DC7-7786-BDD63A7A39C6}"/>
          </ac:spMkLst>
        </pc:spChg>
        <pc:spChg chg="del">
          <ac:chgData name="Chunyen Li (李 俊諺)" userId="40660eec-0f7d-4f76-820a-6b6c2202dd67" providerId="ADAL" clId="{27675839-2FA2-552B-B863-17B94EBDFF3D}" dt="2026-07-17T06:58:23.851" v="5032" actId="478"/>
          <ac:spMkLst>
            <pc:docMk/>
            <pc:sldMk cId="2092753690" sldId="406"/>
            <ac:spMk id="26" creationId="{08A01BA4-D6AF-8046-EE66-650C3D2E10F2}"/>
          </ac:spMkLst>
        </pc:spChg>
        <pc:spChg chg="del">
          <ac:chgData name="Chunyen Li (李 俊諺)" userId="40660eec-0f7d-4f76-820a-6b6c2202dd67" providerId="ADAL" clId="{27675839-2FA2-552B-B863-17B94EBDFF3D}" dt="2026-07-17T06:58:23.851" v="5032" actId="478"/>
          <ac:spMkLst>
            <pc:docMk/>
            <pc:sldMk cId="2092753690" sldId="406"/>
            <ac:spMk id="27" creationId="{7F760F25-AF54-D552-8D35-F5D34333F11A}"/>
          </ac:spMkLst>
        </pc:spChg>
        <pc:spChg chg="mod">
          <ac:chgData name="Chunyen Li (李 俊諺)" userId="40660eec-0f7d-4f76-820a-6b6c2202dd67" providerId="ADAL" clId="{27675839-2FA2-552B-B863-17B94EBDFF3D}" dt="2026-07-17T11:41:12.132" v="7016" actId="13926"/>
          <ac:spMkLst>
            <pc:docMk/>
            <pc:sldMk cId="2092753690" sldId="406"/>
            <ac:spMk id="38" creationId="{DAB0A2DF-9E32-8E25-FA18-1B23154EA51B}"/>
          </ac:spMkLst>
        </pc:spChg>
        <pc:spChg chg="mod">
          <ac:chgData name="Chunyen Li (李 俊諺)" userId="40660eec-0f7d-4f76-820a-6b6c2202dd67" providerId="ADAL" clId="{27675839-2FA2-552B-B863-17B94EBDFF3D}" dt="2026-07-17T08:43:52.066" v="6161" actId="1076"/>
          <ac:spMkLst>
            <pc:docMk/>
            <pc:sldMk cId="2092753690" sldId="406"/>
            <ac:spMk id="91" creationId="{72769FB4-31F8-9FE3-8C37-4B86F1BF77F6}"/>
          </ac:spMkLst>
        </pc:spChg>
        <pc:graphicFrameChg chg="add mod modGraphic">
          <ac:chgData name="Chunyen Li (李 俊諺)" userId="40660eec-0f7d-4f76-820a-6b6c2202dd67" providerId="ADAL" clId="{27675839-2FA2-552B-B863-17B94EBDFF3D}" dt="2026-07-17T08:43:52.066" v="6161" actId="1076"/>
          <ac:graphicFrameMkLst>
            <pc:docMk/>
            <pc:sldMk cId="2092753690" sldId="406"/>
            <ac:graphicFrameMk id="8" creationId="{157E83B2-2D12-9B49-6269-FF9118B6A4D8}"/>
          </ac:graphicFrameMkLst>
        </pc:graphicFrameChg>
        <pc:picChg chg="add del mod">
          <ac:chgData name="Chunyen Li (李 俊諺)" userId="40660eec-0f7d-4f76-820a-6b6c2202dd67" providerId="ADAL" clId="{27675839-2FA2-552B-B863-17B94EBDFF3D}" dt="2026-07-17T08:03:24.078" v="5522" actId="478"/>
          <ac:picMkLst>
            <pc:docMk/>
            <pc:sldMk cId="2092753690" sldId="406"/>
            <ac:picMk id="3" creationId="{F84E16F5-1B66-09AC-C0C3-44F18A2D0968}"/>
          </ac:picMkLst>
        </pc:picChg>
        <pc:picChg chg="add del mod">
          <ac:chgData name="Chunyen Li (李 俊諺)" userId="40660eec-0f7d-4f76-820a-6b6c2202dd67" providerId="ADAL" clId="{27675839-2FA2-552B-B863-17B94EBDFF3D}" dt="2026-07-17T08:37:15.766" v="6136" actId="478"/>
          <ac:picMkLst>
            <pc:docMk/>
            <pc:sldMk cId="2092753690" sldId="406"/>
            <ac:picMk id="4" creationId="{61FCD188-7DD5-93E5-66B5-5C4D6F1B1726}"/>
          </ac:picMkLst>
        </pc:picChg>
        <pc:picChg chg="add mod">
          <ac:chgData name="Chunyen Li (李 俊諺)" userId="40660eec-0f7d-4f76-820a-6b6c2202dd67" providerId="ADAL" clId="{27675839-2FA2-552B-B863-17B94EBDFF3D}" dt="2026-07-17T07:46:14.263" v="5137" actId="1076"/>
          <ac:picMkLst>
            <pc:docMk/>
            <pc:sldMk cId="2092753690" sldId="406"/>
            <ac:picMk id="5" creationId="{4C509E76-33E7-60B0-F21C-EC8F121DDBE7}"/>
          </ac:picMkLst>
        </pc:picChg>
        <pc:picChg chg="add mod">
          <ac:chgData name="Chunyen Li (李 俊諺)" userId="40660eec-0f7d-4f76-820a-6b6c2202dd67" providerId="ADAL" clId="{27675839-2FA2-552B-B863-17B94EBDFF3D}" dt="2026-07-17T07:46:29.166" v="5149" actId="1076"/>
          <ac:picMkLst>
            <pc:docMk/>
            <pc:sldMk cId="2092753690" sldId="406"/>
            <ac:picMk id="6" creationId="{D2C44E7F-5BD1-87C6-FC47-7534C841903A}"/>
          </ac:picMkLst>
        </pc:picChg>
        <pc:picChg chg="add del mod">
          <ac:chgData name="Chunyen Li (李 俊諺)" userId="40660eec-0f7d-4f76-820a-6b6c2202dd67" providerId="ADAL" clId="{27675839-2FA2-552B-B863-17B94EBDFF3D}" dt="2026-07-17T08:37:16.314" v="6137" actId="478"/>
          <ac:picMkLst>
            <pc:docMk/>
            <pc:sldMk cId="2092753690" sldId="406"/>
            <ac:picMk id="7" creationId="{B1A0FF9A-DCD8-60BA-AE6C-3820FFE3FD7A}"/>
          </ac:picMkLst>
        </pc:picChg>
        <pc:picChg chg="del">
          <ac:chgData name="Chunyen Li (李 俊諺)" userId="40660eec-0f7d-4f76-820a-6b6c2202dd67" providerId="ADAL" clId="{27675839-2FA2-552B-B863-17B94EBDFF3D}" dt="2026-07-17T06:58:23.851" v="5032" actId="478"/>
          <ac:picMkLst>
            <pc:docMk/>
            <pc:sldMk cId="2092753690" sldId="406"/>
            <ac:picMk id="10" creationId="{9A8BB488-8996-5A64-0C66-2980ED94CE5B}"/>
          </ac:picMkLst>
        </pc:picChg>
        <pc:cxnChg chg="del">
          <ac:chgData name="Chunyen Li (李 俊諺)" userId="40660eec-0f7d-4f76-820a-6b6c2202dd67" providerId="ADAL" clId="{27675839-2FA2-552B-B863-17B94EBDFF3D}" dt="2026-07-17T08:37:24.694" v="6138" actId="478"/>
          <ac:cxnSpMkLst>
            <pc:docMk/>
            <pc:sldMk cId="2092753690" sldId="406"/>
            <ac:cxnSpMk id="18" creationId="{24142B90-83C8-DD2C-DAF3-AA900184FB52}"/>
          </ac:cxnSpMkLst>
        </pc:cxnChg>
        <pc:cxnChg chg="del">
          <ac:chgData name="Chunyen Li (李 俊諺)" userId="40660eec-0f7d-4f76-820a-6b6c2202dd67" providerId="ADAL" clId="{27675839-2FA2-552B-B863-17B94EBDFF3D}" dt="2026-07-17T06:58:23.851" v="5032" actId="478"/>
          <ac:cxnSpMkLst>
            <pc:docMk/>
            <pc:sldMk cId="2092753690" sldId="406"/>
            <ac:cxnSpMk id="29" creationId="{008C936F-7F2B-7246-26F2-A6EAE3AB24D7}"/>
          </ac:cxnSpMkLst>
        </pc:cxnChg>
        <pc:cxnChg chg="del">
          <ac:chgData name="Chunyen Li (李 俊諺)" userId="40660eec-0f7d-4f76-820a-6b6c2202dd67" providerId="ADAL" clId="{27675839-2FA2-552B-B863-17B94EBDFF3D}" dt="2026-07-17T06:58:23.851" v="5032" actId="478"/>
          <ac:cxnSpMkLst>
            <pc:docMk/>
            <pc:sldMk cId="2092753690" sldId="406"/>
            <ac:cxnSpMk id="33" creationId="{268522BD-6EFD-582A-77B3-332504E75A2F}"/>
          </ac:cxnSpMkLst>
        </pc:cxnChg>
        <pc:cxnChg chg="del">
          <ac:chgData name="Chunyen Li (李 俊諺)" userId="40660eec-0f7d-4f76-820a-6b6c2202dd67" providerId="ADAL" clId="{27675839-2FA2-552B-B863-17B94EBDFF3D}" dt="2026-07-17T06:58:23.851" v="5032" actId="478"/>
          <ac:cxnSpMkLst>
            <pc:docMk/>
            <pc:sldMk cId="2092753690" sldId="406"/>
            <ac:cxnSpMk id="35" creationId="{6655C8DD-72EB-2EDC-E3D4-21A338BD858F}"/>
          </ac:cxnSpMkLst>
        </pc:cxnChg>
        <pc:cxnChg chg="mod">
          <ac:chgData name="Chunyen Li (李 俊諺)" userId="40660eec-0f7d-4f76-820a-6b6c2202dd67" providerId="ADAL" clId="{27675839-2FA2-552B-B863-17B94EBDFF3D}" dt="2026-07-17T08:43:52.066" v="6161" actId="1076"/>
          <ac:cxnSpMkLst>
            <pc:docMk/>
            <pc:sldMk cId="2092753690" sldId="406"/>
            <ac:cxnSpMk id="92" creationId="{B750D43C-5267-0707-6FF2-EA3A15189994}"/>
          </ac:cxnSpMkLst>
        </pc:cxnChg>
      </pc:sldChg>
      <pc:sldChg chg="addSp delSp modSp add mod">
        <pc:chgData name="Chunyen Li (李 俊諺)" userId="40660eec-0f7d-4f76-820a-6b6c2202dd67" providerId="ADAL" clId="{27675839-2FA2-552B-B863-17B94EBDFF3D}" dt="2026-07-17T13:04:45.785" v="8155" actId="20577"/>
        <pc:sldMkLst>
          <pc:docMk/>
          <pc:sldMk cId="1665788998" sldId="407"/>
        </pc:sldMkLst>
        <pc:spChg chg="mod">
          <ac:chgData name="Chunyen Li (李 俊諺)" userId="40660eec-0f7d-4f76-820a-6b6c2202dd67" providerId="ADAL" clId="{27675839-2FA2-552B-B863-17B94EBDFF3D}" dt="2026-07-17T09:34:17.983" v="6591" actId="20577"/>
          <ac:spMkLst>
            <pc:docMk/>
            <pc:sldMk cId="1665788998" sldId="407"/>
            <ac:spMk id="2" creationId="{9B925191-6BE6-3D0E-50DA-66D593916C35}"/>
          </ac:spMkLst>
        </pc:spChg>
        <pc:spChg chg="add del">
          <ac:chgData name="Chunyen Li (李 俊諺)" userId="40660eec-0f7d-4f76-820a-6b6c2202dd67" providerId="ADAL" clId="{27675839-2FA2-552B-B863-17B94EBDFF3D}" dt="2026-07-17T08:13:32.872" v="5714" actId="22"/>
          <ac:spMkLst>
            <pc:docMk/>
            <pc:sldMk cId="1665788998" sldId="407"/>
            <ac:spMk id="9" creationId="{0AE547CB-0DF3-F685-76D0-46B6323A5F08}"/>
          </ac:spMkLst>
        </pc:spChg>
        <pc:spChg chg="add mod">
          <ac:chgData name="Chunyen Li (李 俊諺)" userId="40660eec-0f7d-4f76-820a-6b6c2202dd67" providerId="ADAL" clId="{27675839-2FA2-552B-B863-17B94EBDFF3D}" dt="2026-07-17T11:32:38.200" v="6839" actId="1076"/>
          <ac:spMkLst>
            <pc:docMk/>
            <pc:sldMk cId="1665788998" sldId="407"/>
            <ac:spMk id="11" creationId="{77DF4AC8-9CA1-6453-94B2-D41CA91F30F4}"/>
          </ac:spMkLst>
        </pc:spChg>
        <pc:spChg chg="add mod">
          <ac:chgData name="Chunyen Li (李 俊諺)" userId="40660eec-0f7d-4f76-820a-6b6c2202dd67" providerId="ADAL" clId="{27675839-2FA2-552B-B863-17B94EBDFF3D}" dt="2026-07-17T11:32:44.254" v="6841" actId="1076"/>
          <ac:spMkLst>
            <pc:docMk/>
            <pc:sldMk cId="1665788998" sldId="407"/>
            <ac:spMk id="12" creationId="{1D5E494D-803B-B165-F5AD-0FDB96CC950C}"/>
          </ac:spMkLst>
        </pc:spChg>
        <pc:spChg chg="add del mod">
          <ac:chgData name="Chunyen Li (李 俊諺)" userId="40660eec-0f7d-4f76-820a-6b6c2202dd67" providerId="ADAL" clId="{27675839-2FA2-552B-B863-17B94EBDFF3D}" dt="2026-07-17T11:33:14.500" v="6844" actId="478"/>
          <ac:spMkLst>
            <pc:docMk/>
            <pc:sldMk cId="1665788998" sldId="407"/>
            <ac:spMk id="15" creationId="{3FE5B7B8-8B09-6DE4-D36F-055E77040A8A}"/>
          </ac:spMkLst>
        </pc:spChg>
        <pc:spChg chg="del">
          <ac:chgData name="Chunyen Li (李 俊諺)" userId="40660eec-0f7d-4f76-820a-6b6c2202dd67" providerId="ADAL" clId="{27675839-2FA2-552B-B863-17B94EBDFF3D}" dt="2026-07-17T09:25:43.471" v="6508" actId="478"/>
          <ac:spMkLst>
            <pc:docMk/>
            <pc:sldMk cId="1665788998" sldId="407"/>
            <ac:spMk id="17" creationId="{378920B5-491C-06EC-1A40-BC444BB13BFE}"/>
          </ac:spMkLst>
        </pc:spChg>
        <pc:spChg chg="add mod">
          <ac:chgData name="Chunyen Li (李 俊諺)" userId="40660eec-0f7d-4f76-820a-6b6c2202dd67" providerId="ADAL" clId="{27675839-2FA2-552B-B863-17B94EBDFF3D}" dt="2026-07-17T12:30:05.234" v="7581" actId="20577"/>
          <ac:spMkLst>
            <pc:docMk/>
            <pc:sldMk cId="1665788998" sldId="407"/>
            <ac:spMk id="19" creationId="{96EA51B5-BC6E-3AF2-7EE0-F2DFCE4C884D}"/>
          </ac:spMkLst>
        </pc:spChg>
        <pc:spChg chg="add mod">
          <ac:chgData name="Chunyen Li (李 俊諺)" userId="40660eec-0f7d-4f76-820a-6b6c2202dd67" providerId="ADAL" clId="{27675839-2FA2-552B-B863-17B94EBDFF3D}" dt="2026-07-17T09:21:24.161" v="6469" actId="1076"/>
          <ac:spMkLst>
            <pc:docMk/>
            <pc:sldMk cId="1665788998" sldId="407"/>
            <ac:spMk id="21" creationId="{B471381B-8536-3E73-9B91-9E9A4E0BBF6C}"/>
          </ac:spMkLst>
        </pc:spChg>
        <pc:spChg chg="add mod">
          <ac:chgData name="Chunyen Li (李 俊諺)" userId="40660eec-0f7d-4f76-820a-6b6c2202dd67" providerId="ADAL" clId="{27675839-2FA2-552B-B863-17B94EBDFF3D}" dt="2026-07-17T11:26:39.040" v="6758" actId="1076"/>
          <ac:spMkLst>
            <pc:docMk/>
            <pc:sldMk cId="1665788998" sldId="407"/>
            <ac:spMk id="22" creationId="{51F6971D-FBE1-10ED-CF13-93D8B0E737C6}"/>
          </ac:spMkLst>
        </pc:spChg>
        <pc:spChg chg="add mod">
          <ac:chgData name="Chunyen Li (李 俊諺)" userId="40660eec-0f7d-4f76-820a-6b6c2202dd67" providerId="ADAL" clId="{27675839-2FA2-552B-B863-17B94EBDFF3D}" dt="2026-07-17T11:26:39.040" v="6758" actId="1076"/>
          <ac:spMkLst>
            <pc:docMk/>
            <pc:sldMk cId="1665788998" sldId="407"/>
            <ac:spMk id="24" creationId="{302EC900-8851-5B39-A349-55EA1BEF9704}"/>
          </ac:spMkLst>
        </pc:spChg>
        <pc:spChg chg="add mod">
          <ac:chgData name="Chunyen Li (李 俊諺)" userId="40660eec-0f7d-4f76-820a-6b6c2202dd67" providerId="ADAL" clId="{27675839-2FA2-552B-B863-17B94EBDFF3D}" dt="2026-07-17T11:38:01.956" v="7004" actId="207"/>
          <ac:spMkLst>
            <pc:docMk/>
            <pc:sldMk cId="1665788998" sldId="407"/>
            <ac:spMk id="26" creationId="{826C8692-34B1-8B17-6EB0-FEB2033840D9}"/>
          </ac:spMkLst>
        </pc:spChg>
        <pc:spChg chg="add del mod">
          <ac:chgData name="Chunyen Li (李 俊諺)" userId="40660eec-0f7d-4f76-820a-6b6c2202dd67" providerId="ADAL" clId="{27675839-2FA2-552B-B863-17B94EBDFF3D}" dt="2026-07-17T11:33:12.377" v="6842" actId="478"/>
          <ac:spMkLst>
            <pc:docMk/>
            <pc:sldMk cId="1665788998" sldId="407"/>
            <ac:spMk id="28" creationId="{5E9CCF19-B652-1390-1643-E4573F776E88}"/>
          </ac:spMkLst>
        </pc:spChg>
        <pc:spChg chg="add del mod">
          <ac:chgData name="Chunyen Li (李 俊諺)" userId="40660eec-0f7d-4f76-820a-6b6c2202dd67" providerId="ADAL" clId="{27675839-2FA2-552B-B863-17B94EBDFF3D}" dt="2026-07-17T11:33:12.377" v="6842" actId="478"/>
          <ac:spMkLst>
            <pc:docMk/>
            <pc:sldMk cId="1665788998" sldId="407"/>
            <ac:spMk id="29" creationId="{ECB33580-3C69-49E6-EE4A-1817260C9D86}"/>
          </ac:spMkLst>
        </pc:spChg>
        <pc:spChg chg="add del mod">
          <ac:chgData name="Chunyen Li (李 俊諺)" userId="40660eec-0f7d-4f76-820a-6b6c2202dd67" providerId="ADAL" clId="{27675839-2FA2-552B-B863-17B94EBDFF3D}" dt="2026-07-17T11:33:15.702" v="6845" actId="478"/>
          <ac:spMkLst>
            <pc:docMk/>
            <pc:sldMk cId="1665788998" sldId="407"/>
            <ac:spMk id="30" creationId="{1610A288-442A-F1E7-2443-B11802C865B3}"/>
          </ac:spMkLst>
        </pc:spChg>
        <pc:spChg chg="add mod">
          <ac:chgData name="Chunyen Li (李 俊諺)" userId="40660eec-0f7d-4f76-820a-6b6c2202dd67" providerId="ADAL" clId="{27675839-2FA2-552B-B863-17B94EBDFF3D}" dt="2026-07-17T11:40:48.282" v="7013" actId="6549"/>
          <ac:spMkLst>
            <pc:docMk/>
            <pc:sldMk cId="1665788998" sldId="407"/>
            <ac:spMk id="33" creationId="{FDE83261-F14C-0CC8-DCA5-161B54459586}"/>
          </ac:spMkLst>
        </pc:spChg>
        <pc:spChg chg="add mod">
          <ac:chgData name="Chunyen Li (李 俊諺)" userId="40660eec-0f7d-4f76-820a-6b6c2202dd67" providerId="ADAL" clId="{27675839-2FA2-552B-B863-17B94EBDFF3D}" dt="2026-07-17T11:26:39.040" v="6758" actId="1076"/>
          <ac:spMkLst>
            <pc:docMk/>
            <pc:sldMk cId="1665788998" sldId="407"/>
            <ac:spMk id="37" creationId="{110B4FEA-4A56-91A2-772E-3AEAD2523F33}"/>
          </ac:spMkLst>
        </pc:spChg>
        <pc:spChg chg="mod">
          <ac:chgData name="Chunyen Li (李 俊諺)" userId="40660eec-0f7d-4f76-820a-6b6c2202dd67" providerId="ADAL" clId="{27675839-2FA2-552B-B863-17B94EBDFF3D}" dt="2026-07-17T13:04:45.785" v="8155" actId="20577"/>
          <ac:spMkLst>
            <pc:docMk/>
            <pc:sldMk cId="1665788998" sldId="407"/>
            <ac:spMk id="38" creationId="{AB2E57B4-D676-6878-B9F8-B9B13965D874}"/>
          </ac:spMkLst>
        </pc:spChg>
        <pc:spChg chg="mod">
          <ac:chgData name="Chunyen Li (李 俊諺)" userId="40660eec-0f7d-4f76-820a-6b6c2202dd67" providerId="ADAL" clId="{27675839-2FA2-552B-B863-17B94EBDFF3D}" dt="2026-07-17T09:18:47.411" v="6437" actId="14100"/>
          <ac:spMkLst>
            <pc:docMk/>
            <pc:sldMk cId="1665788998" sldId="407"/>
            <ac:spMk id="40" creationId="{687575C8-05B0-1310-461E-26E9EB8C0174}"/>
          </ac:spMkLst>
        </pc:spChg>
        <pc:spChg chg="mod">
          <ac:chgData name="Chunyen Li (李 俊諺)" userId="40660eec-0f7d-4f76-820a-6b6c2202dd67" providerId="ADAL" clId="{27675839-2FA2-552B-B863-17B94EBDFF3D}" dt="2026-07-17T09:18:36.422" v="6436" actId="1076"/>
          <ac:spMkLst>
            <pc:docMk/>
            <pc:sldMk cId="1665788998" sldId="407"/>
            <ac:spMk id="41" creationId="{386B7A19-6FE6-A620-1951-9900BA244C4E}"/>
          </ac:spMkLst>
        </pc:spChg>
        <pc:spChg chg="add mod">
          <ac:chgData name="Chunyen Li (李 俊諺)" userId="40660eec-0f7d-4f76-820a-6b6c2202dd67" providerId="ADAL" clId="{27675839-2FA2-552B-B863-17B94EBDFF3D}" dt="2026-07-17T11:28:00.915" v="6782" actId="1076"/>
          <ac:spMkLst>
            <pc:docMk/>
            <pc:sldMk cId="1665788998" sldId="407"/>
            <ac:spMk id="42" creationId="{210F9038-05EC-0A33-B033-A4EE1F82135F}"/>
          </ac:spMkLst>
        </pc:spChg>
        <pc:spChg chg="add mod">
          <ac:chgData name="Chunyen Li (李 俊諺)" userId="40660eec-0f7d-4f76-820a-6b6c2202dd67" providerId="ADAL" clId="{27675839-2FA2-552B-B863-17B94EBDFF3D}" dt="2026-07-17T11:28:00.915" v="6782" actId="1076"/>
          <ac:spMkLst>
            <pc:docMk/>
            <pc:sldMk cId="1665788998" sldId="407"/>
            <ac:spMk id="43" creationId="{3A36A0AA-6729-E319-8085-13867EEB4310}"/>
          </ac:spMkLst>
        </pc:spChg>
        <pc:spChg chg="add mod">
          <ac:chgData name="Chunyen Li (李 俊諺)" userId="40660eec-0f7d-4f76-820a-6b6c2202dd67" providerId="ADAL" clId="{27675839-2FA2-552B-B863-17B94EBDFF3D}" dt="2026-07-17T11:28:00.915" v="6782" actId="1076"/>
          <ac:spMkLst>
            <pc:docMk/>
            <pc:sldMk cId="1665788998" sldId="407"/>
            <ac:spMk id="44" creationId="{A9B8104C-75DA-AD48-798E-EBED949D5D41}"/>
          </ac:spMkLst>
        </pc:spChg>
        <pc:spChg chg="add mod">
          <ac:chgData name="Chunyen Li (李 俊諺)" userId="40660eec-0f7d-4f76-820a-6b6c2202dd67" providerId="ADAL" clId="{27675839-2FA2-552B-B863-17B94EBDFF3D}" dt="2026-07-17T11:28:00.915" v="6782" actId="1076"/>
          <ac:spMkLst>
            <pc:docMk/>
            <pc:sldMk cId="1665788998" sldId="407"/>
            <ac:spMk id="45" creationId="{8BAB022F-13EE-37D1-F895-3DD550413DD3}"/>
          </ac:spMkLst>
        </pc:spChg>
        <pc:spChg chg="add mod">
          <ac:chgData name="Chunyen Li (李 俊諺)" userId="40660eec-0f7d-4f76-820a-6b6c2202dd67" providerId="ADAL" clId="{27675839-2FA2-552B-B863-17B94EBDFF3D}" dt="2026-07-17T09:16:36.319" v="6403"/>
          <ac:spMkLst>
            <pc:docMk/>
            <pc:sldMk cId="1665788998" sldId="407"/>
            <ac:spMk id="46" creationId="{914DB9EB-BAC5-8B0D-EAD1-DE35B6D626B0}"/>
          </ac:spMkLst>
        </pc:spChg>
        <pc:spChg chg="add mod">
          <ac:chgData name="Chunyen Li (李 俊諺)" userId="40660eec-0f7d-4f76-820a-6b6c2202dd67" providerId="ADAL" clId="{27675839-2FA2-552B-B863-17B94EBDFF3D}" dt="2026-07-17T09:16:36.319" v="6403"/>
          <ac:spMkLst>
            <pc:docMk/>
            <pc:sldMk cId="1665788998" sldId="407"/>
            <ac:spMk id="47" creationId="{F803C6A7-BF03-BA6B-41B9-4C6D978A1693}"/>
          </ac:spMkLst>
        </pc:spChg>
        <pc:spChg chg="add del mod">
          <ac:chgData name="Chunyen Li (李 俊諺)" userId="40660eec-0f7d-4f76-820a-6b6c2202dd67" providerId="ADAL" clId="{27675839-2FA2-552B-B863-17B94EBDFF3D}" dt="2026-07-17T11:30:53.611" v="6815" actId="478"/>
          <ac:spMkLst>
            <pc:docMk/>
            <pc:sldMk cId="1665788998" sldId="407"/>
            <ac:spMk id="48" creationId="{A05B23AF-2693-67DC-0603-0D6A1AA6DDE5}"/>
          </ac:spMkLst>
        </pc:spChg>
        <pc:spChg chg="add del mod">
          <ac:chgData name="Chunyen Li (李 俊諺)" userId="40660eec-0f7d-4f76-820a-6b6c2202dd67" providerId="ADAL" clId="{27675839-2FA2-552B-B863-17B94EBDFF3D}" dt="2026-07-17T09:23:08.596" v="6485"/>
          <ac:spMkLst>
            <pc:docMk/>
            <pc:sldMk cId="1665788998" sldId="407"/>
            <ac:spMk id="49" creationId="{23BFC2E8-9645-0887-87B0-E6C5F55BAF8C}"/>
          </ac:spMkLst>
        </pc:spChg>
        <pc:spChg chg="add del mod">
          <ac:chgData name="Chunyen Li (李 俊諺)" userId="40660eec-0f7d-4f76-820a-6b6c2202dd67" providerId="ADAL" clId="{27675839-2FA2-552B-B863-17B94EBDFF3D}" dt="2026-07-17T11:34:18.468" v="6853" actId="478"/>
          <ac:spMkLst>
            <pc:docMk/>
            <pc:sldMk cId="1665788998" sldId="407"/>
            <ac:spMk id="50" creationId="{94A7084D-E4EC-D4BA-F657-BBC37550B2E7}"/>
          </ac:spMkLst>
        </pc:spChg>
        <pc:spChg chg="add mod">
          <ac:chgData name="Chunyen Li (李 俊諺)" userId="40660eec-0f7d-4f76-820a-6b6c2202dd67" providerId="ADAL" clId="{27675839-2FA2-552B-B863-17B94EBDFF3D}" dt="2026-07-17T11:28:14.619" v="6784" actId="1076"/>
          <ac:spMkLst>
            <pc:docMk/>
            <pc:sldMk cId="1665788998" sldId="407"/>
            <ac:spMk id="52" creationId="{48A095DF-7D2E-F895-B093-232645218AAD}"/>
          </ac:spMkLst>
        </pc:spChg>
        <pc:spChg chg="add mod">
          <ac:chgData name="Chunyen Li (李 俊諺)" userId="40660eec-0f7d-4f76-820a-6b6c2202dd67" providerId="ADAL" clId="{27675839-2FA2-552B-B863-17B94EBDFF3D}" dt="2026-07-17T11:32:11.606" v="6833" actId="6549"/>
          <ac:spMkLst>
            <pc:docMk/>
            <pc:sldMk cId="1665788998" sldId="407"/>
            <ac:spMk id="55" creationId="{EF3789F8-A163-7A74-3486-1DF8B6D8CA53}"/>
          </ac:spMkLst>
        </pc:spChg>
        <pc:spChg chg="add mod">
          <ac:chgData name="Chunyen Li (李 俊諺)" userId="40660eec-0f7d-4f76-820a-6b6c2202dd67" providerId="ADAL" clId="{27675839-2FA2-552B-B863-17B94EBDFF3D}" dt="2026-07-17T11:38:05.546" v="7005" actId="207"/>
          <ac:spMkLst>
            <pc:docMk/>
            <pc:sldMk cId="1665788998" sldId="407"/>
            <ac:spMk id="58" creationId="{205755B6-DB68-DB8A-FF37-F5DF51861518}"/>
          </ac:spMkLst>
        </pc:spChg>
        <pc:spChg chg="add mod">
          <ac:chgData name="Chunyen Li (李 俊諺)" userId="40660eec-0f7d-4f76-820a-6b6c2202dd67" providerId="ADAL" clId="{27675839-2FA2-552B-B863-17B94EBDFF3D}" dt="2026-07-17T11:37:11.622" v="6994" actId="14100"/>
          <ac:spMkLst>
            <pc:docMk/>
            <pc:sldMk cId="1665788998" sldId="407"/>
            <ac:spMk id="59" creationId="{4A3B2C18-76FE-88B3-A076-DFA1B3208916}"/>
          </ac:spMkLst>
        </pc:spChg>
        <pc:spChg chg="del">
          <ac:chgData name="Chunyen Li (李 俊諺)" userId="40660eec-0f7d-4f76-820a-6b6c2202dd67" providerId="ADAL" clId="{27675839-2FA2-552B-B863-17B94EBDFF3D}" dt="2026-07-17T09:25:43.471" v="6508" actId="478"/>
          <ac:spMkLst>
            <pc:docMk/>
            <pc:sldMk cId="1665788998" sldId="407"/>
            <ac:spMk id="91" creationId="{0150F878-DA89-9AFA-62D2-CBE944397BBB}"/>
          </ac:spMkLst>
        </pc:spChg>
        <pc:grpChg chg="add mod">
          <ac:chgData name="Chunyen Li (李 俊諺)" userId="40660eec-0f7d-4f76-820a-6b6c2202dd67" providerId="ADAL" clId="{27675839-2FA2-552B-B863-17B94EBDFF3D}" dt="2026-07-17T11:28:00.915" v="6782" actId="1076"/>
          <ac:grpSpMkLst>
            <pc:docMk/>
            <pc:sldMk cId="1665788998" sldId="407"/>
            <ac:grpSpMk id="39" creationId="{E3525B74-B90E-6BDF-6105-8152B9413A2F}"/>
          </ac:grpSpMkLst>
        </pc:grpChg>
        <pc:graphicFrameChg chg="del">
          <ac:chgData name="Chunyen Li (李 俊諺)" userId="40660eec-0f7d-4f76-820a-6b6c2202dd67" providerId="ADAL" clId="{27675839-2FA2-552B-B863-17B94EBDFF3D}" dt="2026-07-17T08:13:15.829" v="5710" actId="478"/>
          <ac:graphicFrameMkLst>
            <pc:docMk/>
            <pc:sldMk cId="1665788998" sldId="407"/>
            <ac:graphicFrameMk id="8" creationId="{8B4DE30D-D477-48A4-5382-FFC5D718617D}"/>
          </ac:graphicFrameMkLst>
        </pc:graphicFrameChg>
        <pc:picChg chg="del">
          <ac:chgData name="Chunyen Li (李 俊諺)" userId="40660eec-0f7d-4f76-820a-6b6c2202dd67" providerId="ADAL" clId="{27675839-2FA2-552B-B863-17B94EBDFF3D}" dt="2026-07-17T08:20:24.766" v="5801" actId="478"/>
          <ac:picMkLst>
            <pc:docMk/>
            <pc:sldMk cId="1665788998" sldId="407"/>
            <ac:picMk id="4" creationId="{27CC651D-2B4C-50B6-DD4E-682ACFBBFAF2}"/>
          </ac:picMkLst>
        </pc:picChg>
        <pc:picChg chg="del">
          <ac:chgData name="Chunyen Li (李 俊諺)" userId="40660eec-0f7d-4f76-820a-6b6c2202dd67" providerId="ADAL" clId="{27675839-2FA2-552B-B863-17B94EBDFF3D}" dt="2026-07-17T08:20:21.979" v="5798" actId="478"/>
          <ac:picMkLst>
            <pc:docMk/>
            <pc:sldMk cId="1665788998" sldId="407"/>
            <ac:picMk id="5" creationId="{79336C96-AB89-7906-F060-6C30D01174EC}"/>
          </ac:picMkLst>
        </pc:picChg>
        <pc:picChg chg="del mod">
          <ac:chgData name="Chunyen Li (李 俊諺)" userId="40660eec-0f7d-4f76-820a-6b6c2202dd67" providerId="ADAL" clId="{27675839-2FA2-552B-B863-17B94EBDFF3D}" dt="2026-07-17T09:24:14.151" v="6488" actId="478"/>
          <ac:picMkLst>
            <pc:docMk/>
            <pc:sldMk cId="1665788998" sldId="407"/>
            <ac:picMk id="6" creationId="{0412095F-9B65-9056-9216-B2894C8A0DA0}"/>
          </ac:picMkLst>
        </pc:picChg>
        <pc:picChg chg="del">
          <ac:chgData name="Chunyen Li (李 俊諺)" userId="40660eec-0f7d-4f76-820a-6b6c2202dd67" providerId="ADAL" clId="{27675839-2FA2-552B-B863-17B94EBDFF3D}" dt="2026-07-17T08:20:22.795" v="5799" actId="478"/>
          <ac:picMkLst>
            <pc:docMk/>
            <pc:sldMk cId="1665788998" sldId="407"/>
            <ac:picMk id="7" creationId="{8774F9E9-64F9-1341-E7EE-68616E3DDDE6}"/>
          </ac:picMkLst>
        </pc:picChg>
        <pc:picChg chg="add del mod">
          <ac:chgData name="Chunyen Li (李 俊諺)" userId="40660eec-0f7d-4f76-820a-6b6c2202dd67" providerId="ADAL" clId="{27675839-2FA2-552B-B863-17B94EBDFF3D}" dt="2026-07-17T09:24:12.793" v="6487" actId="478"/>
          <ac:picMkLst>
            <pc:docMk/>
            <pc:sldMk cId="1665788998" sldId="407"/>
            <ac:picMk id="13" creationId="{DF218543-D2C6-0C95-BC8A-337A5F87DDE9}"/>
          </ac:picMkLst>
        </pc:picChg>
        <pc:picChg chg="add del mod">
          <ac:chgData name="Chunyen Li (李 俊諺)" userId="40660eec-0f7d-4f76-820a-6b6c2202dd67" providerId="ADAL" clId="{27675839-2FA2-552B-B863-17B94EBDFF3D}" dt="2026-07-17T11:33:12.377" v="6842" actId="478"/>
          <ac:picMkLst>
            <pc:docMk/>
            <pc:sldMk cId="1665788998" sldId="407"/>
            <ac:picMk id="14" creationId="{0D05B721-D553-C823-AFA4-EBD23E5B6997}"/>
          </ac:picMkLst>
        </pc:picChg>
        <pc:picChg chg="add del mod">
          <ac:chgData name="Chunyen Li (李 俊諺)" userId="40660eec-0f7d-4f76-820a-6b6c2202dd67" providerId="ADAL" clId="{27675839-2FA2-552B-B863-17B94EBDFF3D}" dt="2026-07-17T08:56:04.942" v="6247" actId="478"/>
          <ac:picMkLst>
            <pc:docMk/>
            <pc:sldMk cId="1665788998" sldId="407"/>
            <ac:picMk id="23" creationId="{308C13B3-7ACB-80DA-1443-66BEC4CB8F0C}"/>
          </ac:picMkLst>
        </pc:picChg>
        <pc:picChg chg="add mod">
          <ac:chgData name="Chunyen Li (李 俊諺)" userId="40660eec-0f7d-4f76-820a-6b6c2202dd67" providerId="ADAL" clId="{27675839-2FA2-552B-B863-17B94EBDFF3D}" dt="2026-07-17T08:55:57.149" v="6243"/>
          <ac:picMkLst>
            <pc:docMk/>
            <pc:sldMk cId="1665788998" sldId="407"/>
            <ac:picMk id="31" creationId="{2A5D8CE7-90E4-EBB4-511E-569CCE93B303}"/>
          </ac:picMkLst>
        </pc:picChg>
        <pc:picChg chg="add mod">
          <ac:chgData name="Chunyen Li (李 俊諺)" userId="40660eec-0f7d-4f76-820a-6b6c2202dd67" providerId="ADAL" clId="{27675839-2FA2-552B-B863-17B94EBDFF3D}" dt="2026-07-17T11:37:15.954" v="6995" actId="1076"/>
          <ac:picMkLst>
            <pc:docMk/>
            <pc:sldMk cId="1665788998" sldId="407"/>
            <ac:picMk id="32" creationId="{7BAA10C8-2C02-46F3-C93F-63235E85F4FF}"/>
          </ac:picMkLst>
        </pc:picChg>
        <pc:picChg chg="add mod modCrop">
          <ac:chgData name="Chunyen Li (李 俊諺)" userId="40660eec-0f7d-4f76-820a-6b6c2202dd67" providerId="ADAL" clId="{27675839-2FA2-552B-B863-17B94EBDFF3D}" dt="2026-07-17T11:28:00.915" v="6782" actId="1076"/>
          <ac:picMkLst>
            <pc:docMk/>
            <pc:sldMk cId="1665788998" sldId="407"/>
            <ac:picMk id="35" creationId="{BB3D1FF3-40F6-9598-22ED-B0B259EB15D5}"/>
          </ac:picMkLst>
        </pc:picChg>
        <pc:picChg chg="add del mod">
          <ac:chgData name="Chunyen Li (李 俊諺)" userId="40660eec-0f7d-4f76-820a-6b6c2202dd67" providerId="ADAL" clId="{27675839-2FA2-552B-B863-17B94EBDFF3D}" dt="2026-07-17T09:24:12.793" v="6487" actId="478"/>
          <ac:picMkLst>
            <pc:docMk/>
            <pc:sldMk cId="1665788998" sldId="407"/>
            <ac:picMk id="36" creationId="{DF6C4262-929B-3D9C-3ED5-5CB54A624D7D}"/>
          </ac:picMkLst>
        </pc:picChg>
        <pc:picChg chg="add mod">
          <ac:chgData name="Chunyen Li (李 俊諺)" userId="40660eec-0f7d-4f76-820a-6b6c2202dd67" providerId="ADAL" clId="{27675839-2FA2-552B-B863-17B94EBDFF3D}" dt="2026-07-17T11:37:15.954" v="6995" actId="1076"/>
          <ac:picMkLst>
            <pc:docMk/>
            <pc:sldMk cId="1665788998" sldId="407"/>
            <ac:picMk id="51" creationId="{1B669583-9CD3-C12A-8787-E836B57B46A5}"/>
          </ac:picMkLst>
        </pc:picChg>
        <pc:picChg chg="add mod modCrop">
          <ac:chgData name="Chunyen Li (李 俊諺)" userId="40660eec-0f7d-4f76-820a-6b6c2202dd67" providerId="ADAL" clId="{27675839-2FA2-552B-B863-17B94EBDFF3D}" dt="2026-07-17T11:32:40.863" v="6840" actId="1076"/>
          <ac:picMkLst>
            <pc:docMk/>
            <pc:sldMk cId="1665788998" sldId="407"/>
            <ac:picMk id="53" creationId="{F7F171C5-8EB4-05AF-1301-836E23D5423A}"/>
          </ac:picMkLst>
        </pc:picChg>
        <pc:picChg chg="add mod modCrop">
          <ac:chgData name="Chunyen Li (李 俊諺)" userId="40660eec-0f7d-4f76-820a-6b6c2202dd67" providerId="ADAL" clId="{27675839-2FA2-552B-B863-17B94EBDFF3D}" dt="2026-07-17T11:32:24.212" v="6837" actId="1076"/>
          <ac:picMkLst>
            <pc:docMk/>
            <pc:sldMk cId="1665788998" sldId="407"/>
            <ac:picMk id="54" creationId="{935FA4F2-A645-CE8F-8B15-B56C8551C2E5}"/>
          </ac:picMkLst>
        </pc:picChg>
        <pc:cxnChg chg="del mod">
          <ac:chgData name="Chunyen Li (李 俊諺)" userId="40660eec-0f7d-4f76-820a-6b6c2202dd67" providerId="ADAL" clId="{27675839-2FA2-552B-B863-17B94EBDFF3D}" dt="2026-07-17T11:33:12.377" v="6842" actId="478"/>
          <ac:cxnSpMkLst>
            <pc:docMk/>
            <pc:sldMk cId="1665788998" sldId="407"/>
            <ac:cxnSpMk id="16" creationId="{C22160FD-BB6D-1133-F8A8-2FF556E2A7F4}"/>
          </ac:cxnSpMkLst>
        </pc:cxnChg>
        <pc:cxnChg chg="del">
          <ac:chgData name="Chunyen Li (李 俊諺)" userId="40660eec-0f7d-4f76-820a-6b6c2202dd67" providerId="ADAL" clId="{27675839-2FA2-552B-B863-17B94EBDFF3D}" dt="2026-07-17T09:25:43.471" v="6508" actId="478"/>
          <ac:cxnSpMkLst>
            <pc:docMk/>
            <pc:sldMk cId="1665788998" sldId="407"/>
            <ac:cxnSpMk id="18" creationId="{B2B2FF17-63AA-935F-70B3-B200A5FD8821}"/>
          </ac:cxnSpMkLst>
        </pc:cxnChg>
        <pc:cxnChg chg="mod">
          <ac:chgData name="Chunyen Li (李 俊諺)" userId="40660eec-0f7d-4f76-820a-6b6c2202dd67" providerId="ADAL" clId="{27675839-2FA2-552B-B863-17B94EBDFF3D}" dt="2026-07-17T11:26:39.040" v="6758" actId="1076"/>
          <ac:cxnSpMkLst>
            <pc:docMk/>
            <pc:sldMk cId="1665788998" sldId="407"/>
            <ac:cxnSpMk id="20" creationId="{7F588074-B5DC-9165-B2C4-9206E481242A}"/>
          </ac:cxnSpMkLst>
        </pc:cxnChg>
        <pc:cxnChg chg="mod">
          <ac:chgData name="Chunyen Li (李 俊諺)" userId="40660eec-0f7d-4f76-820a-6b6c2202dd67" providerId="ADAL" clId="{27675839-2FA2-552B-B863-17B94EBDFF3D}" dt="2026-07-17T11:26:39.040" v="6758" actId="1076"/>
          <ac:cxnSpMkLst>
            <pc:docMk/>
            <pc:sldMk cId="1665788998" sldId="407"/>
            <ac:cxnSpMk id="25" creationId="{5F3F7F64-A788-97C6-8E1A-7A9A725C521C}"/>
          </ac:cxnSpMkLst>
        </pc:cxnChg>
        <pc:cxnChg chg="mod">
          <ac:chgData name="Chunyen Li (李 俊諺)" userId="40660eec-0f7d-4f76-820a-6b6c2202dd67" providerId="ADAL" clId="{27675839-2FA2-552B-B863-17B94EBDFF3D}" dt="2026-07-17T11:37:26.789" v="7001" actId="14100"/>
          <ac:cxnSpMkLst>
            <pc:docMk/>
            <pc:sldMk cId="1665788998" sldId="407"/>
            <ac:cxnSpMk id="27" creationId="{AC281049-4C5D-D571-7BCD-21AE592338C1}"/>
          </ac:cxnSpMkLst>
        </pc:cxnChg>
        <pc:cxnChg chg="add mod">
          <ac:chgData name="Chunyen Li (李 俊諺)" userId="40660eec-0f7d-4f76-820a-6b6c2202dd67" providerId="ADAL" clId="{27675839-2FA2-552B-B863-17B94EBDFF3D}" dt="2026-07-17T11:28:00.915" v="6782" actId="1076"/>
          <ac:cxnSpMkLst>
            <pc:docMk/>
            <pc:sldMk cId="1665788998" sldId="407"/>
            <ac:cxnSpMk id="34" creationId="{DBF4A436-3DEC-DB9C-2BCB-BB07595261E4}"/>
          </ac:cxnSpMkLst>
        </pc:cxnChg>
        <pc:cxnChg chg="add mod">
          <ac:chgData name="Chunyen Li (李 俊諺)" userId="40660eec-0f7d-4f76-820a-6b6c2202dd67" providerId="ADAL" clId="{27675839-2FA2-552B-B863-17B94EBDFF3D}" dt="2026-07-17T11:32:07.745" v="6830" actId="1076"/>
          <ac:cxnSpMkLst>
            <pc:docMk/>
            <pc:sldMk cId="1665788998" sldId="407"/>
            <ac:cxnSpMk id="56" creationId="{92E9EC44-5397-7467-9DED-ED51622D7FFD}"/>
          </ac:cxnSpMkLst>
        </pc:cxnChg>
        <pc:cxnChg chg="del">
          <ac:chgData name="Chunyen Li (李 俊諺)" userId="40660eec-0f7d-4f76-820a-6b6c2202dd67" providerId="ADAL" clId="{27675839-2FA2-552B-B863-17B94EBDFF3D}" dt="2026-07-17T09:25:43.471" v="6508" actId="478"/>
          <ac:cxnSpMkLst>
            <pc:docMk/>
            <pc:sldMk cId="1665788998" sldId="407"/>
            <ac:cxnSpMk id="92" creationId="{93B69E16-7317-DBEB-BED4-CE74D1CBC5B1}"/>
          </ac:cxnSpMkLst>
        </pc:cxnChg>
      </pc:sldChg>
      <pc:sldChg chg="add del">
        <pc:chgData name="Chunyen Li (李 俊諺)" userId="40660eec-0f7d-4f76-820a-6b6c2202dd67" providerId="ADAL" clId="{27675839-2FA2-552B-B863-17B94EBDFF3D}" dt="2026-07-17T08:13:18.140" v="5712"/>
        <pc:sldMkLst>
          <pc:docMk/>
          <pc:sldMk cId="835093918" sldId="408"/>
        </pc:sldMkLst>
      </pc:sldChg>
      <pc:sldChg chg="addSp delSp modSp add mod">
        <pc:chgData name="Chunyen Li (李 俊諺)" userId="40660eec-0f7d-4f76-820a-6b6c2202dd67" providerId="ADAL" clId="{27675839-2FA2-552B-B863-17B94EBDFF3D}" dt="2026-07-18T11:31:23.683" v="9529" actId="1076"/>
        <pc:sldMkLst>
          <pc:docMk/>
          <pc:sldMk cId="1740831878" sldId="408"/>
        </pc:sldMkLst>
        <pc:spChg chg="mod">
          <ac:chgData name="Chunyen Li (李 俊諺)" userId="40660eec-0f7d-4f76-820a-6b6c2202dd67" providerId="ADAL" clId="{27675839-2FA2-552B-B863-17B94EBDFF3D}" dt="2026-07-17T09:39:14.566" v="6593"/>
          <ac:spMkLst>
            <pc:docMk/>
            <pc:sldMk cId="1740831878" sldId="408"/>
            <ac:spMk id="2" creationId="{10E13A5E-D118-1B43-8CD9-237427AAF26F}"/>
          </ac:spMkLst>
        </pc:spChg>
        <pc:spChg chg="add mod">
          <ac:chgData name="Chunyen Li (李 俊諺)" userId="40660eec-0f7d-4f76-820a-6b6c2202dd67" providerId="ADAL" clId="{27675839-2FA2-552B-B863-17B94EBDFF3D}" dt="2026-07-17T12:16:15.036" v="7443" actId="1076"/>
          <ac:spMkLst>
            <pc:docMk/>
            <pc:sldMk cId="1740831878" sldId="408"/>
            <ac:spMk id="5" creationId="{3D50C9AC-3101-C114-7B21-39A991D84CFF}"/>
          </ac:spMkLst>
        </pc:spChg>
        <pc:spChg chg="add mod">
          <ac:chgData name="Chunyen Li (李 俊諺)" userId="40660eec-0f7d-4f76-820a-6b6c2202dd67" providerId="ADAL" clId="{27675839-2FA2-552B-B863-17B94EBDFF3D}" dt="2026-07-17T13:03:03.572" v="8123" actId="13926"/>
          <ac:spMkLst>
            <pc:docMk/>
            <pc:sldMk cId="1740831878" sldId="408"/>
            <ac:spMk id="6" creationId="{537E7B0B-6C36-8BEC-954F-4B68FD23C274}"/>
          </ac:spMkLst>
        </pc:spChg>
        <pc:spChg chg="add mod">
          <ac:chgData name="Chunyen Li (李 俊諺)" userId="40660eec-0f7d-4f76-820a-6b6c2202dd67" providerId="ADAL" clId="{27675839-2FA2-552B-B863-17B94EBDFF3D}" dt="2026-07-17T12:13:25.757" v="7380" actId="1076"/>
          <ac:spMkLst>
            <pc:docMk/>
            <pc:sldMk cId="1740831878" sldId="408"/>
            <ac:spMk id="8" creationId="{545A1F66-88F8-9188-5328-8485337BB78E}"/>
          </ac:spMkLst>
        </pc:spChg>
        <pc:spChg chg="add mod">
          <ac:chgData name="Chunyen Li (李 俊諺)" userId="40660eec-0f7d-4f76-820a-6b6c2202dd67" providerId="ADAL" clId="{27675839-2FA2-552B-B863-17B94EBDFF3D}" dt="2026-07-17T12:33:28.635" v="7593" actId="1076"/>
          <ac:spMkLst>
            <pc:docMk/>
            <pc:sldMk cId="1740831878" sldId="408"/>
            <ac:spMk id="10" creationId="{D5D65E37-3E6B-AF1D-EB0E-EFFCEF57CA98}"/>
          </ac:spMkLst>
        </pc:spChg>
        <pc:spChg chg="del mod">
          <ac:chgData name="Chunyen Li (李 俊諺)" userId="40660eec-0f7d-4f76-820a-6b6c2202dd67" providerId="ADAL" clId="{27675839-2FA2-552B-B863-17B94EBDFF3D}" dt="2026-07-17T13:36:57.462" v="8201" actId="478"/>
          <ac:spMkLst>
            <pc:docMk/>
            <pc:sldMk cId="1740831878" sldId="408"/>
            <ac:spMk id="15" creationId="{AA1A4E75-2B39-B102-21B0-B400DF682463}"/>
          </ac:spMkLst>
        </pc:spChg>
        <pc:spChg chg="add mod">
          <ac:chgData name="Chunyen Li (李 俊諺)" userId="40660eec-0f7d-4f76-820a-6b6c2202dd67" providerId="ADAL" clId="{27675839-2FA2-552B-B863-17B94EBDFF3D}" dt="2026-07-17T12:13:25.757" v="7380" actId="1076"/>
          <ac:spMkLst>
            <pc:docMk/>
            <pc:sldMk cId="1740831878" sldId="408"/>
            <ac:spMk id="18" creationId="{D523B09F-7A14-34D9-B787-0B09698A7A81}"/>
          </ac:spMkLst>
        </pc:spChg>
        <pc:spChg chg="del mod">
          <ac:chgData name="Chunyen Li (李 俊諺)" userId="40660eec-0f7d-4f76-820a-6b6c2202dd67" providerId="ADAL" clId="{27675839-2FA2-552B-B863-17B94EBDFF3D}" dt="2026-07-17T13:36:57.462" v="8201" actId="478"/>
          <ac:spMkLst>
            <pc:docMk/>
            <pc:sldMk cId="1740831878" sldId="408"/>
            <ac:spMk id="19" creationId="{021D82C5-FB47-8D2E-7891-CF98475AAD3A}"/>
          </ac:spMkLst>
        </pc:spChg>
        <pc:spChg chg="add del">
          <ac:chgData name="Chunyen Li (李 俊諺)" userId="40660eec-0f7d-4f76-820a-6b6c2202dd67" providerId="ADAL" clId="{27675839-2FA2-552B-B863-17B94EBDFF3D}" dt="2026-07-17T09:27:52.777" v="6516" actId="478"/>
          <ac:spMkLst>
            <pc:docMk/>
            <pc:sldMk cId="1740831878" sldId="408"/>
            <ac:spMk id="21" creationId="{B8CA2946-F627-7DD0-69A6-73C540711B07}"/>
          </ac:spMkLst>
        </pc:spChg>
        <pc:spChg chg="add del">
          <ac:chgData name="Chunyen Li (李 俊諺)" userId="40660eec-0f7d-4f76-820a-6b6c2202dd67" providerId="ADAL" clId="{27675839-2FA2-552B-B863-17B94EBDFF3D}" dt="2026-07-17T09:27:52.777" v="6516" actId="478"/>
          <ac:spMkLst>
            <pc:docMk/>
            <pc:sldMk cId="1740831878" sldId="408"/>
            <ac:spMk id="22" creationId="{655E7C1F-31B0-FA16-9E6B-F5FF393A6FD8}"/>
          </ac:spMkLst>
        </pc:spChg>
        <pc:spChg chg="add mod">
          <ac:chgData name="Chunyen Li (李 俊諺)" userId="40660eec-0f7d-4f76-820a-6b6c2202dd67" providerId="ADAL" clId="{27675839-2FA2-552B-B863-17B94EBDFF3D}" dt="2026-07-17T12:30:00.866" v="7573" actId="20577"/>
          <ac:spMkLst>
            <pc:docMk/>
            <pc:sldMk cId="1740831878" sldId="408"/>
            <ac:spMk id="23" creationId="{5EA3D8D3-A0FC-9EDA-A03F-86EA89B143B2}"/>
          </ac:spMkLst>
        </pc:spChg>
        <pc:spChg chg="add del">
          <ac:chgData name="Chunyen Li (李 俊諺)" userId="40660eec-0f7d-4f76-820a-6b6c2202dd67" providerId="ADAL" clId="{27675839-2FA2-552B-B863-17B94EBDFF3D}" dt="2026-07-17T09:27:52.777" v="6516" actId="478"/>
          <ac:spMkLst>
            <pc:docMk/>
            <pc:sldMk cId="1740831878" sldId="408"/>
            <ac:spMk id="24" creationId="{B3B4E04B-0560-DC8C-8BAE-5CF90C4158F8}"/>
          </ac:spMkLst>
        </pc:spChg>
        <pc:spChg chg="add del">
          <ac:chgData name="Chunyen Li (李 俊諺)" userId="40660eec-0f7d-4f76-820a-6b6c2202dd67" providerId="ADAL" clId="{27675839-2FA2-552B-B863-17B94EBDFF3D}" dt="2026-07-17T09:27:52.777" v="6516" actId="478"/>
          <ac:spMkLst>
            <pc:docMk/>
            <pc:sldMk cId="1740831878" sldId="408"/>
            <ac:spMk id="26" creationId="{88FE4BF9-820A-E7FE-F32B-E9EDA30491CA}"/>
          </ac:spMkLst>
        </pc:spChg>
        <pc:spChg chg="add del">
          <ac:chgData name="Chunyen Li (李 俊諺)" userId="40660eec-0f7d-4f76-820a-6b6c2202dd67" providerId="ADAL" clId="{27675839-2FA2-552B-B863-17B94EBDFF3D}" dt="2026-07-17T09:27:52.777" v="6516" actId="478"/>
          <ac:spMkLst>
            <pc:docMk/>
            <pc:sldMk cId="1740831878" sldId="408"/>
            <ac:spMk id="29" creationId="{11B7A8DF-3A34-9CB9-81B7-F3272C9BC831}"/>
          </ac:spMkLst>
        </pc:spChg>
        <pc:spChg chg="add del">
          <ac:chgData name="Chunyen Li (李 俊諺)" userId="40660eec-0f7d-4f76-820a-6b6c2202dd67" providerId="ADAL" clId="{27675839-2FA2-552B-B863-17B94EBDFF3D}" dt="2026-07-17T09:27:52.777" v="6516" actId="478"/>
          <ac:spMkLst>
            <pc:docMk/>
            <pc:sldMk cId="1740831878" sldId="408"/>
            <ac:spMk id="30" creationId="{DFD03A68-37DC-FE8B-7B46-5536B92DBA2A}"/>
          </ac:spMkLst>
        </pc:spChg>
        <pc:spChg chg="del mod">
          <ac:chgData name="Chunyen Li (李 俊諺)" userId="40660eec-0f7d-4f76-820a-6b6c2202dd67" providerId="ADAL" clId="{27675839-2FA2-552B-B863-17B94EBDFF3D}" dt="2026-07-17T13:36:57.462" v="8201" actId="478"/>
          <ac:spMkLst>
            <pc:docMk/>
            <pc:sldMk cId="1740831878" sldId="408"/>
            <ac:spMk id="33" creationId="{A71489B0-FB56-3F35-30FA-6D6D8190B5AE}"/>
          </ac:spMkLst>
        </pc:spChg>
        <pc:spChg chg="mod">
          <ac:chgData name="Chunyen Li (李 俊諺)" userId="40660eec-0f7d-4f76-820a-6b6c2202dd67" providerId="ADAL" clId="{27675839-2FA2-552B-B863-17B94EBDFF3D}" dt="2026-07-17T13:07:41.494" v="8176" actId="115"/>
          <ac:spMkLst>
            <pc:docMk/>
            <pc:sldMk cId="1740831878" sldId="408"/>
            <ac:spMk id="38" creationId="{EFECDC32-B3AB-987A-B289-6CC2C152212F}"/>
          </ac:spMkLst>
        </pc:spChg>
        <pc:spChg chg="del topLvl">
          <ac:chgData name="Chunyen Li (李 俊諺)" userId="40660eec-0f7d-4f76-820a-6b6c2202dd67" providerId="ADAL" clId="{27675839-2FA2-552B-B863-17B94EBDFF3D}" dt="2026-07-17T09:27:58.144" v="6518" actId="478"/>
          <ac:spMkLst>
            <pc:docMk/>
            <pc:sldMk cId="1740831878" sldId="408"/>
            <ac:spMk id="40" creationId="{EDAEDB79-1560-8FF2-7851-84D874DD52FC}"/>
          </ac:spMkLst>
        </pc:spChg>
        <pc:spChg chg="del mod topLvl">
          <ac:chgData name="Chunyen Li (李 俊諺)" userId="40660eec-0f7d-4f76-820a-6b6c2202dd67" providerId="ADAL" clId="{27675839-2FA2-552B-B863-17B94EBDFF3D}" dt="2026-07-17T09:27:59.786" v="6519" actId="478"/>
          <ac:spMkLst>
            <pc:docMk/>
            <pc:sldMk cId="1740831878" sldId="408"/>
            <ac:spMk id="41" creationId="{6CE1B000-E794-AA8D-0671-F033E53A251D}"/>
          </ac:spMkLst>
        </pc:spChg>
        <pc:spChg chg="add del">
          <ac:chgData name="Chunyen Li (李 俊諺)" userId="40660eec-0f7d-4f76-820a-6b6c2202dd67" providerId="ADAL" clId="{27675839-2FA2-552B-B863-17B94EBDFF3D}" dt="2026-07-17T09:27:52.777" v="6516" actId="478"/>
          <ac:spMkLst>
            <pc:docMk/>
            <pc:sldMk cId="1740831878" sldId="408"/>
            <ac:spMk id="42" creationId="{596239C9-DE00-53D3-3D27-1B5CE31D1502}"/>
          </ac:spMkLst>
        </pc:spChg>
        <pc:spChg chg="add del">
          <ac:chgData name="Chunyen Li (李 俊諺)" userId="40660eec-0f7d-4f76-820a-6b6c2202dd67" providerId="ADAL" clId="{27675839-2FA2-552B-B863-17B94EBDFF3D}" dt="2026-07-17T09:27:52.777" v="6516" actId="478"/>
          <ac:spMkLst>
            <pc:docMk/>
            <pc:sldMk cId="1740831878" sldId="408"/>
            <ac:spMk id="43" creationId="{4925ED12-B273-E9FC-71EC-C683E757D661}"/>
          </ac:spMkLst>
        </pc:spChg>
        <pc:spChg chg="add del">
          <ac:chgData name="Chunyen Li (李 俊諺)" userId="40660eec-0f7d-4f76-820a-6b6c2202dd67" providerId="ADAL" clId="{27675839-2FA2-552B-B863-17B94EBDFF3D}" dt="2026-07-17T09:27:52.777" v="6516" actId="478"/>
          <ac:spMkLst>
            <pc:docMk/>
            <pc:sldMk cId="1740831878" sldId="408"/>
            <ac:spMk id="44" creationId="{C0BB8114-F0B0-C3DA-10AB-10D502A8C012}"/>
          </ac:spMkLst>
        </pc:spChg>
        <pc:spChg chg="add del">
          <ac:chgData name="Chunyen Li (李 俊諺)" userId="40660eec-0f7d-4f76-820a-6b6c2202dd67" providerId="ADAL" clId="{27675839-2FA2-552B-B863-17B94EBDFF3D}" dt="2026-07-17T09:27:52.777" v="6516" actId="478"/>
          <ac:spMkLst>
            <pc:docMk/>
            <pc:sldMk cId="1740831878" sldId="408"/>
            <ac:spMk id="45" creationId="{185F280F-B239-2881-552D-C59E9305AA9E}"/>
          </ac:spMkLst>
        </pc:spChg>
        <pc:spChg chg="add mod">
          <ac:chgData name="Chunyen Li (李 俊諺)" userId="40660eec-0f7d-4f76-820a-6b6c2202dd67" providerId="ADAL" clId="{27675839-2FA2-552B-B863-17B94EBDFF3D}" dt="2026-07-17T12:28:45.190" v="7550" actId="1076"/>
          <ac:spMkLst>
            <pc:docMk/>
            <pc:sldMk cId="1740831878" sldId="408"/>
            <ac:spMk id="46" creationId="{CB8AEFB5-CBE1-974B-8EA7-C4ADD5B365BF}"/>
          </ac:spMkLst>
        </pc:spChg>
        <pc:spChg chg="add mod">
          <ac:chgData name="Chunyen Li (李 俊諺)" userId="40660eec-0f7d-4f76-820a-6b6c2202dd67" providerId="ADAL" clId="{27675839-2FA2-552B-B863-17B94EBDFF3D}" dt="2026-07-17T12:13:25.757" v="7380" actId="1076"/>
          <ac:spMkLst>
            <pc:docMk/>
            <pc:sldMk cId="1740831878" sldId="408"/>
            <ac:spMk id="49" creationId="{1E59C944-2816-9FF0-84B5-E15032A51C9E}"/>
          </ac:spMkLst>
        </pc:spChg>
        <pc:spChg chg="add del mod">
          <ac:chgData name="Chunyen Li (李 俊諺)" userId="40660eec-0f7d-4f76-820a-6b6c2202dd67" providerId="ADAL" clId="{27675839-2FA2-552B-B863-17B94EBDFF3D}" dt="2026-07-17T12:03:35.803" v="7184" actId="478"/>
          <ac:spMkLst>
            <pc:docMk/>
            <pc:sldMk cId="1740831878" sldId="408"/>
            <ac:spMk id="51" creationId="{F829A49E-1920-3862-768E-53D8E86A74CE}"/>
          </ac:spMkLst>
        </pc:spChg>
        <pc:spChg chg="add mod">
          <ac:chgData name="Chunyen Li (李 俊諺)" userId="40660eec-0f7d-4f76-820a-6b6c2202dd67" providerId="ADAL" clId="{27675839-2FA2-552B-B863-17B94EBDFF3D}" dt="2026-07-17T12:33:18.974" v="7591" actId="1037"/>
          <ac:spMkLst>
            <pc:docMk/>
            <pc:sldMk cId="1740831878" sldId="408"/>
            <ac:spMk id="52" creationId="{AB7468DF-75D7-847B-BC29-4E5142183C56}"/>
          </ac:spMkLst>
        </pc:spChg>
        <pc:spChg chg="add mod">
          <ac:chgData name="Chunyen Li (李 俊諺)" userId="40660eec-0f7d-4f76-820a-6b6c2202dd67" providerId="ADAL" clId="{27675839-2FA2-552B-B863-17B94EBDFF3D}" dt="2026-07-17T13:03:19.507" v="8126" actId="13926"/>
          <ac:spMkLst>
            <pc:docMk/>
            <pc:sldMk cId="1740831878" sldId="408"/>
            <ac:spMk id="53" creationId="{E84D9F8C-E6C9-3430-C0D9-502CFAC250DB}"/>
          </ac:spMkLst>
        </pc:spChg>
        <pc:spChg chg="add mod">
          <ac:chgData name="Chunyen Li (李 俊諺)" userId="40660eec-0f7d-4f76-820a-6b6c2202dd67" providerId="ADAL" clId="{27675839-2FA2-552B-B863-17B94EBDFF3D}" dt="2026-07-17T13:03:27.962" v="8127" actId="1076"/>
          <ac:spMkLst>
            <pc:docMk/>
            <pc:sldMk cId="1740831878" sldId="408"/>
            <ac:spMk id="54" creationId="{A908BD83-52D8-3647-3E01-C8064FDC28CF}"/>
          </ac:spMkLst>
        </pc:spChg>
        <pc:spChg chg="add mod">
          <ac:chgData name="Chunyen Li (李 俊諺)" userId="40660eec-0f7d-4f76-820a-6b6c2202dd67" providerId="ADAL" clId="{27675839-2FA2-552B-B863-17B94EBDFF3D}" dt="2026-07-17T13:02:38.162" v="8113" actId="113"/>
          <ac:spMkLst>
            <pc:docMk/>
            <pc:sldMk cId="1740831878" sldId="408"/>
            <ac:spMk id="75" creationId="{F882C826-47AA-2168-0188-A0A56C6A46F1}"/>
          </ac:spMkLst>
        </pc:spChg>
        <pc:spChg chg="add mod">
          <ac:chgData name="Chunyen Li (李 俊諺)" userId="40660eec-0f7d-4f76-820a-6b6c2202dd67" providerId="ADAL" clId="{27675839-2FA2-552B-B863-17B94EBDFF3D}" dt="2026-07-17T12:33:40.788" v="7598" actId="1076"/>
          <ac:spMkLst>
            <pc:docMk/>
            <pc:sldMk cId="1740831878" sldId="408"/>
            <ac:spMk id="81" creationId="{6ED90AA9-3CB5-FC14-EE14-09945E7AFF83}"/>
          </ac:spMkLst>
        </pc:spChg>
        <pc:spChg chg="add mod">
          <ac:chgData name="Chunyen Li (李 俊諺)" userId="40660eec-0f7d-4f76-820a-6b6c2202dd67" providerId="ADAL" clId="{27675839-2FA2-552B-B863-17B94EBDFF3D}" dt="2026-07-17T12:33:18.974" v="7591" actId="1037"/>
          <ac:spMkLst>
            <pc:docMk/>
            <pc:sldMk cId="1740831878" sldId="408"/>
            <ac:spMk id="83" creationId="{DC49D428-02D9-B32D-AA39-5642D798981D}"/>
          </ac:spMkLst>
        </pc:spChg>
        <pc:spChg chg="add mod">
          <ac:chgData name="Chunyen Li (李 俊諺)" userId="40660eec-0f7d-4f76-820a-6b6c2202dd67" providerId="ADAL" clId="{27675839-2FA2-552B-B863-17B94EBDFF3D}" dt="2026-07-17T12:33:32.445" v="7595" actId="1076"/>
          <ac:spMkLst>
            <pc:docMk/>
            <pc:sldMk cId="1740831878" sldId="408"/>
            <ac:spMk id="86" creationId="{E4603560-09D5-DAF7-E1C4-20D7A0B69490}"/>
          </ac:spMkLst>
        </pc:spChg>
        <pc:spChg chg="add mod">
          <ac:chgData name="Chunyen Li (李 俊諺)" userId="40660eec-0f7d-4f76-820a-6b6c2202dd67" providerId="ADAL" clId="{27675839-2FA2-552B-B863-17B94EBDFF3D}" dt="2026-07-17T13:03:44.876" v="8130" actId="13926"/>
          <ac:spMkLst>
            <pc:docMk/>
            <pc:sldMk cId="1740831878" sldId="408"/>
            <ac:spMk id="89" creationId="{DE0C44A5-9E9D-B63B-84F6-2B365D7A9390}"/>
          </ac:spMkLst>
        </pc:spChg>
        <pc:spChg chg="add mod">
          <ac:chgData name="Chunyen Li (李 俊諺)" userId="40660eec-0f7d-4f76-820a-6b6c2202dd67" providerId="ADAL" clId="{27675839-2FA2-552B-B863-17B94EBDFF3D}" dt="2026-07-18T11:31:23.683" v="9529" actId="1076"/>
          <ac:spMkLst>
            <pc:docMk/>
            <pc:sldMk cId="1740831878" sldId="408"/>
            <ac:spMk id="94" creationId="{366B573F-A7D6-C1E4-1AA4-6932047DE173}"/>
          </ac:spMkLst>
        </pc:spChg>
        <pc:spChg chg="add mod">
          <ac:chgData name="Chunyen Li (李 俊諺)" userId="40660eec-0f7d-4f76-820a-6b6c2202dd67" providerId="ADAL" clId="{27675839-2FA2-552B-B863-17B94EBDFF3D}" dt="2026-07-17T13:10:40.456" v="8188" actId="1076"/>
          <ac:spMkLst>
            <pc:docMk/>
            <pc:sldMk cId="1740831878" sldId="408"/>
            <ac:spMk id="101" creationId="{F74A6460-626C-B26F-02E1-E662D5E8EDE4}"/>
          </ac:spMkLst>
        </pc:spChg>
        <pc:spChg chg="add mod">
          <ac:chgData name="Chunyen Li (李 俊諺)" userId="40660eec-0f7d-4f76-820a-6b6c2202dd67" providerId="ADAL" clId="{27675839-2FA2-552B-B863-17B94EBDFF3D}" dt="2026-07-17T13:10:40.456" v="8188" actId="1076"/>
          <ac:spMkLst>
            <pc:docMk/>
            <pc:sldMk cId="1740831878" sldId="408"/>
            <ac:spMk id="102" creationId="{97A3488E-79AB-6317-59C2-3A19C088D3CE}"/>
          </ac:spMkLst>
        </pc:spChg>
        <pc:spChg chg="add mod">
          <ac:chgData name="Chunyen Li (李 俊諺)" userId="40660eec-0f7d-4f76-820a-6b6c2202dd67" providerId="ADAL" clId="{27675839-2FA2-552B-B863-17B94EBDFF3D}" dt="2026-07-17T13:10:40.456" v="8188" actId="1076"/>
          <ac:spMkLst>
            <pc:docMk/>
            <pc:sldMk cId="1740831878" sldId="408"/>
            <ac:spMk id="103" creationId="{B5E8F686-0925-22D7-21AA-850599F6331F}"/>
          </ac:spMkLst>
        </pc:spChg>
        <pc:spChg chg="add mod">
          <ac:chgData name="Chunyen Li (李 俊諺)" userId="40660eec-0f7d-4f76-820a-6b6c2202dd67" providerId="ADAL" clId="{27675839-2FA2-552B-B863-17B94EBDFF3D}" dt="2026-07-17T13:10:40.456" v="8188" actId="1076"/>
          <ac:spMkLst>
            <pc:docMk/>
            <pc:sldMk cId="1740831878" sldId="408"/>
            <ac:spMk id="104" creationId="{5BA40DE0-555A-18B2-6D2E-0577431FA92C}"/>
          </ac:spMkLst>
        </pc:spChg>
        <pc:spChg chg="add mod">
          <ac:chgData name="Chunyen Li (李 俊諺)" userId="40660eec-0f7d-4f76-820a-6b6c2202dd67" providerId="ADAL" clId="{27675839-2FA2-552B-B863-17B94EBDFF3D}" dt="2026-07-17T13:10:40.456" v="8188" actId="1076"/>
          <ac:spMkLst>
            <pc:docMk/>
            <pc:sldMk cId="1740831878" sldId="408"/>
            <ac:spMk id="105" creationId="{9762DA23-CB1A-DAA5-4AC7-FDCC7A68FA9A}"/>
          </ac:spMkLst>
        </pc:spChg>
        <pc:spChg chg="add mod">
          <ac:chgData name="Chunyen Li (李 俊諺)" userId="40660eec-0f7d-4f76-820a-6b6c2202dd67" providerId="ADAL" clId="{27675839-2FA2-552B-B863-17B94EBDFF3D}" dt="2026-07-17T13:10:40.456" v="8188" actId="1076"/>
          <ac:spMkLst>
            <pc:docMk/>
            <pc:sldMk cId="1740831878" sldId="408"/>
            <ac:spMk id="106" creationId="{B234ECE1-39A7-1B6B-F688-83D142818F42}"/>
          </ac:spMkLst>
        </pc:spChg>
        <pc:spChg chg="add del mod">
          <ac:chgData name="Chunyen Li (李 俊諺)" userId="40660eec-0f7d-4f76-820a-6b6c2202dd67" providerId="ADAL" clId="{27675839-2FA2-552B-B863-17B94EBDFF3D}" dt="2026-07-17T13:00:21.857" v="8065" actId="478"/>
          <ac:spMkLst>
            <pc:docMk/>
            <pc:sldMk cId="1740831878" sldId="408"/>
            <ac:spMk id="107" creationId="{4C41A680-C133-CBC6-B750-AF0791452159}"/>
          </ac:spMkLst>
        </pc:spChg>
        <pc:spChg chg="add mod">
          <ac:chgData name="Chunyen Li (李 俊諺)" userId="40660eec-0f7d-4f76-820a-6b6c2202dd67" providerId="ADAL" clId="{27675839-2FA2-552B-B863-17B94EBDFF3D}" dt="2026-07-17T13:11:18.963" v="8193" actId="14100"/>
          <ac:spMkLst>
            <pc:docMk/>
            <pc:sldMk cId="1740831878" sldId="408"/>
            <ac:spMk id="108" creationId="{F14854DA-7C4D-0251-8357-836561D28C19}"/>
          </ac:spMkLst>
        </pc:spChg>
        <pc:grpChg chg="del">
          <ac:chgData name="Chunyen Li (李 俊諺)" userId="40660eec-0f7d-4f76-820a-6b6c2202dd67" providerId="ADAL" clId="{27675839-2FA2-552B-B863-17B94EBDFF3D}" dt="2026-07-17T09:27:58.144" v="6518" actId="478"/>
          <ac:grpSpMkLst>
            <pc:docMk/>
            <pc:sldMk cId="1740831878" sldId="408"/>
            <ac:grpSpMk id="39" creationId="{5A6A620A-FD67-F119-BDA9-FEFF1A573C0F}"/>
          </ac:grpSpMkLst>
        </pc:grpChg>
        <pc:picChg chg="add del mod">
          <ac:chgData name="Chunyen Li (李 俊諺)" userId="40660eec-0f7d-4f76-820a-6b6c2202dd67" providerId="ADAL" clId="{27675839-2FA2-552B-B863-17B94EBDFF3D}" dt="2026-07-17T12:58:44.209" v="8057" actId="478"/>
          <ac:picMkLst>
            <pc:docMk/>
            <pc:sldMk cId="1740831878" sldId="408"/>
            <ac:picMk id="3" creationId="{C12E549B-35D1-E2F3-7E42-A45712EB7E41}"/>
          </ac:picMkLst>
        </pc:picChg>
        <pc:picChg chg="add mod">
          <ac:chgData name="Chunyen Li (李 俊諺)" userId="40660eec-0f7d-4f76-820a-6b6c2202dd67" providerId="ADAL" clId="{27675839-2FA2-552B-B863-17B94EBDFF3D}" dt="2026-07-17T11:48:31.788" v="7114" actId="1076"/>
          <ac:picMkLst>
            <pc:docMk/>
            <pc:sldMk cId="1740831878" sldId="408"/>
            <ac:picMk id="13" creationId="{4BF72251-4236-8AB1-0118-4870069F1AA6}"/>
          </ac:picMkLst>
        </pc:picChg>
        <pc:picChg chg="add mod">
          <ac:chgData name="Chunyen Li (李 俊諺)" userId="40660eec-0f7d-4f76-820a-6b6c2202dd67" providerId="ADAL" clId="{27675839-2FA2-552B-B863-17B94EBDFF3D}" dt="2026-07-17T11:48:31.788" v="7114" actId="1076"/>
          <ac:picMkLst>
            <pc:docMk/>
            <pc:sldMk cId="1740831878" sldId="408"/>
            <ac:picMk id="17" creationId="{C7BA0029-4649-FFC6-DFC9-679285FD68CA}"/>
          </ac:picMkLst>
        </pc:picChg>
        <pc:picChg chg="add del mod">
          <ac:chgData name="Chunyen Li (李 俊諺)" userId="40660eec-0f7d-4f76-820a-6b6c2202dd67" providerId="ADAL" clId="{27675839-2FA2-552B-B863-17B94EBDFF3D}" dt="2026-07-17T11:52:58.570" v="7132" actId="478"/>
          <ac:picMkLst>
            <pc:docMk/>
            <pc:sldMk cId="1740831878" sldId="408"/>
            <ac:picMk id="31" creationId="{B77B203F-ABC8-8B37-990D-C83ADB27ED96}"/>
          </ac:picMkLst>
        </pc:picChg>
        <pc:picChg chg="add del mod">
          <ac:chgData name="Chunyen Li (李 俊諺)" userId="40660eec-0f7d-4f76-820a-6b6c2202dd67" providerId="ADAL" clId="{27675839-2FA2-552B-B863-17B94EBDFF3D}" dt="2026-07-17T12:37:56.666" v="7604" actId="478"/>
          <ac:picMkLst>
            <pc:docMk/>
            <pc:sldMk cId="1740831878" sldId="408"/>
            <ac:picMk id="88" creationId="{6290E8FC-9CCC-FC77-2250-D12B2E56BBEF}"/>
          </ac:picMkLst>
        </pc:picChg>
        <pc:picChg chg="add mod">
          <ac:chgData name="Chunyen Li (李 俊諺)" userId="40660eec-0f7d-4f76-820a-6b6c2202dd67" providerId="ADAL" clId="{27675839-2FA2-552B-B863-17B94EBDFF3D}" dt="2026-07-17T13:10:40.456" v="8188" actId="1076"/>
          <ac:picMkLst>
            <pc:docMk/>
            <pc:sldMk cId="1740831878" sldId="408"/>
            <ac:picMk id="100" creationId="{6F94612B-75AC-FBB4-9484-5A79A9C7E445}"/>
          </ac:picMkLst>
        </pc:picChg>
        <pc:cxnChg chg="add mod">
          <ac:chgData name="Chunyen Li (李 俊諺)" userId="40660eec-0f7d-4f76-820a-6b6c2202dd67" providerId="ADAL" clId="{27675839-2FA2-552B-B863-17B94EBDFF3D}" dt="2026-07-17T12:33:26.038" v="7592" actId="14100"/>
          <ac:cxnSpMkLst>
            <pc:docMk/>
            <pc:sldMk cId="1740831878" sldId="408"/>
            <ac:cxnSpMk id="4" creationId="{46FA5CBD-EB4E-EC4B-E24F-0107C688C51C}"/>
          </ac:cxnSpMkLst>
        </pc:cxnChg>
        <pc:cxnChg chg="add mod">
          <ac:chgData name="Chunyen Li (李 俊諺)" userId="40660eec-0f7d-4f76-820a-6b6c2202dd67" providerId="ADAL" clId="{27675839-2FA2-552B-B863-17B94EBDFF3D}" dt="2026-07-17T12:16:26.684" v="7446" actId="1076"/>
          <ac:cxnSpMkLst>
            <pc:docMk/>
            <pc:sldMk cId="1740831878" sldId="408"/>
            <ac:cxnSpMk id="7" creationId="{F51C4CBC-AA56-78DC-DED8-11358E0F5FB3}"/>
          </ac:cxnSpMkLst>
        </pc:cxnChg>
        <pc:cxnChg chg="add mod">
          <ac:chgData name="Chunyen Li (李 俊諺)" userId="40660eec-0f7d-4f76-820a-6b6c2202dd67" providerId="ADAL" clId="{27675839-2FA2-552B-B863-17B94EBDFF3D}" dt="2026-07-17T12:16:19.550" v="7445" actId="1076"/>
          <ac:cxnSpMkLst>
            <pc:docMk/>
            <pc:sldMk cId="1740831878" sldId="408"/>
            <ac:cxnSpMk id="9" creationId="{DB2E28B6-9E05-F07A-60BA-A3C2C3583E87}"/>
          </ac:cxnSpMkLst>
        </pc:cxnChg>
        <pc:cxnChg chg="del mod">
          <ac:chgData name="Chunyen Li (李 俊諺)" userId="40660eec-0f7d-4f76-820a-6b6c2202dd67" providerId="ADAL" clId="{27675839-2FA2-552B-B863-17B94EBDFF3D}" dt="2026-07-17T13:36:57.462" v="8201" actId="478"/>
          <ac:cxnSpMkLst>
            <pc:docMk/>
            <pc:sldMk cId="1740831878" sldId="408"/>
            <ac:cxnSpMk id="16" creationId="{346B32BB-E0AC-C592-2AF4-307F07C992E2}"/>
          </ac:cxnSpMkLst>
        </pc:cxnChg>
        <pc:cxnChg chg="del mod">
          <ac:chgData name="Chunyen Li (李 俊諺)" userId="40660eec-0f7d-4f76-820a-6b6c2202dd67" providerId="ADAL" clId="{27675839-2FA2-552B-B863-17B94EBDFF3D}" dt="2026-07-17T13:36:57.462" v="8201" actId="478"/>
          <ac:cxnSpMkLst>
            <pc:docMk/>
            <pc:sldMk cId="1740831878" sldId="408"/>
            <ac:cxnSpMk id="20" creationId="{29E195FB-D804-B14D-15AD-273CF8B75FCD}"/>
          </ac:cxnSpMkLst>
        </pc:cxnChg>
        <pc:cxnChg chg="del mod">
          <ac:chgData name="Chunyen Li (李 俊諺)" userId="40660eec-0f7d-4f76-820a-6b6c2202dd67" providerId="ADAL" clId="{27675839-2FA2-552B-B863-17B94EBDFF3D}" dt="2026-07-17T13:36:57.462" v="8201" actId="478"/>
          <ac:cxnSpMkLst>
            <pc:docMk/>
            <pc:sldMk cId="1740831878" sldId="408"/>
            <ac:cxnSpMk id="34" creationId="{642E03FF-3A68-1441-7146-364F9EC288B2}"/>
          </ac:cxnSpMkLst>
        </pc:cxnChg>
        <pc:cxnChg chg="add mod">
          <ac:chgData name="Chunyen Li (李 俊諺)" userId="40660eec-0f7d-4f76-820a-6b6c2202dd67" providerId="ADAL" clId="{27675839-2FA2-552B-B863-17B94EBDFF3D}" dt="2026-07-17T12:30:15.731" v="7582" actId="14100"/>
          <ac:cxnSpMkLst>
            <pc:docMk/>
            <pc:sldMk cId="1740831878" sldId="408"/>
            <ac:cxnSpMk id="36" creationId="{3A8B7C8F-477A-849B-7F4C-81F67AD03861}"/>
          </ac:cxnSpMkLst>
        </pc:cxnChg>
        <pc:cxnChg chg="add del mod">
          <ac:chgData name="Chunyen Li (李 俊諺)" userId="40660eec-0f7d-4f76-820a-6b6c2202dd67" providerId="ADAL" clId="{27675839-2FA2-552B-B863-17B94EBDFF3D}" dt="2026-07-17T12:08:56.779" v="7260" actId="478"/>
          <ac:cxnSpMkLst>
            <pc:docMk/>
            <pc:sldMk cId="1740831878" sldId="408"/>
            <ac:cxnSpMk id="55" creationId="{1ECEE705-0B71-65AE-F038-CC3C1273E831}"/>
          </ac:cxnSpMkLst>
        </pc:cxnChg>
        <pc:cxnChg chg="add mod">
          <ac:chgData name="Chunyen Li (李 俊諺)" userId="40660eec-0f7d-4f76-820a-6b6c2202dd67" providerId="ADAL" clId="{27675839-2FA2-552B-B863-17B94EBDFF3D}" dt="2026-07-17T12:33:18.974" v="7591" actId="1037"/>
          <ac:cxnSpMkLst>
            <pc:docMk/>
            <pc:sldMk cId="1740831878" sldId="408"/>
            <ac:cxnSpMk id="67" creationId="{894BF8BA-A92E-A2FB-1F10-7EA8F1ACBAA9}"/>
          </ac:cxnSpMkLst>
        </pc:cxnChg>
        <pc:cxnChg chg="add mod">
          <ac:chgData name="Chunyen Li (李 俊諺)" userId="40660eec-0f7d-4f76-820a-6b6c2202dd67" providerId="ADAL" clId="{27675839-2FA2-552B-B863-17B94EBDFF3D}" dt="2026-07-17T12:33:18.974" v="7591" actId="1037"/>
          <ac:cxnSpMkLst>
            <pc:docMk/>
            <pc:sldMk cId="1740831878" sldId="408"/>
            <ac:cxnSpMk id="68" creationId="{B2B00DF8-6879-A11A-4F39-4C1B07D7FCFF}"/>
          </ac:cxnSpMkLst>
        </pc:cxnChg>
        <pc:cxnChg chg="add mod">
          <ac:chgData name="Chunyen Li (李 俊諺)" userId="40660eec-0f7d-4f76-820a-6b6c2202dd67" providerId="ADAL" clId="{27675839-2FA2-552B-B863-17B94EBDFF3D}" dt="2026-07-17T12:35:25.767" v="7599" actId="14100"/>
          <ac:cxnSpMkLst>
            <pc:docMk/>
            <pc:sldMk cId="1740831878" sldId="408"/>
            <ac:cxnSpMk id="76" creationId="{8499379F-A456-EA4B-DC62-EB5A62D14DB2}"/>
          </ac:cxnSpMkLst>
        </pc:cxnChg>
        <pc:cxnChg chg="add mod">
          <ac:chgData name="Chunyen Li (李 俊諺)" userId="40660eec-0f7d-4f76-820a-6b6c2202dd67" providerId="ADAL" clId="{27675839-2FA2-552B-B863-17B94EBDFF3D}" dt="2026-07-17T12:33:18.974" v="7591" actId="1037"/>
          <ac:cxnSpMkLst>
            <pc:docMk/>
            <pc:sldMk cId="1740831878" sldId="408"/>
            <ac:cxnSpMk id="82" creationId="{99547DA7-6B1C-0A8F-15C3-441D12E549D5}"/>
          </ac:cxnSpMkLst>
        </pc:cxnChg>
        <pc:cxnChg chg="add mod">
          <ac:chgData name="Chunyen Li (李 俊諺)" userId="40660eec-0f7d-4f76-820a-6b6c2202dd67" providerId="ADAL" clId="{27675839-2FA2-552B-B863-17B94EBDFF3D}" dt="2026-07-17T13:01:52.798" v="8108" actId="1076"/>
          <ac:cxnSpMkLst>
            <pc:docMk/>
            <pc:sldMk cId="1740831878" sldId="408"/>
            <ac:cxnSpMk id="90" creationId="{A4A485F3-DDFD-6A3A-ADCC-83755F1F7F02}"/>
          </ac:cxnSpMkLst>
        </pc:cxnChg>
        <pc:cxnChg chg="add mod">
          <ac:chgData name="Chunyen Li (李 俊諺)" userId="40660eec-0f7d-4f76-820a-6b6c2202dd67" providerId="ADAL" clId="{27675839-2FA2-552B-B863-17B94EBDFF3D}" dt="2026-07-17T12:50:51.874" v="7927" actId="1076"/>
          <ac:cxnSpMkLst>
            <pc:docMk/>
            <pc:sldMk cId="1740831878" sldId="408"/>
            <ac:cxnSpMk id="95" creationId="{ED830DCE-99CF-D36C-2D68-E84CC985624D}"/>
          </ac:cxnSpMkLst>
        </pc:cxnChg>
      </pc:sldChg>
      <pc:sldChg chg="add del">
        <pc:chgData name="Chunyen Li (李 俊諺)" userId="40660eec-0f7d-4f76-820a-6b6c2202dd67" providerId="ADAL" clId="{27675839-2FA2-552B-B863-17B94EBDFF3D}" dt="2026-07-17T09:22:14.380" v="6472" actId="2696"/>
        <pc:sldMkLst>
          <pc:docMk/>
          <pc:sldMk cId="3755694676" sldId="408"/>
        </pc:sldMkLst>
      </pc:sldChg>
      <pc:sldChg chg="modSp add mod modAnim">
        <pc:chgData name="Chunyen Li (李 俊諺)" userId="40660eec-0f7d-4f76-820a-6b6c2202dd67" providerId="ADAL" clId="{27675839-2FA2-552B-B863-17B94EBDFF3D}" dt="2026-07-17T13:37:41.663" v="8207" actId="207"/>
        <pc:sldMkLst>
          <pc:docMk/>
          <pc:sldMk cId="792953981" sldId="409"/>
        </pc:sldMkLst>
        <pc:spChg chg="mod">
          <ac:chgData name="Chunyen Li (李 俊諺)" userId="40660eec-0f7d-4f76-820a-6b6c2202dd67" providerId="ADAL" clId="{27675839-2FA2-552B-B863-17B94EBDFF3D}" dt="2026-07-17T13:37:41.663" v="8207" actId="207"/>
          <ac:spMkLst>
            <pc:docMk/>
            <pc:sldMk cId="792953981" sldId="409"/>
            <ac:spMk id="12" creationId="{327CC48E-2AE7-3034-12DD-0BFDD43905B8}"/>
          </ac:spMkLst>
        </pc:spChg>
      </pc:sldChg>
      <pc:sldChg chg="new del">
        <pc:chgData name="Chunyen Li (李 俊諺)" userId="40660eec-0f7d-4f76-820a-6b6c2202dd67" providerId="ADAL" clId="{27675839-2FA2-552B-B863-17B94EBDFF3D}" dt="2026-07-17T13:11:46.114" v="8197" actId="680"/>
        <pc:sldMkLst>
          <pc:docMk/>
          <pc:sldMk cId="349184698" sldId="410"/>
        </pc:sldMkLst>
      </pc:sldChg>
      <pc:sldChg chg="add del">
        <pc:chgData name="Chunyen Li (李 俊諺)" userId="40660eec-0f7d-4f76-820a-6b6c2202dd67" providerId="ADAL" clId="{27675839-2FA2-552B-B863-17B94EBDFF3D}" dt="2026-07-17T13:09:25.643" v="8178" actId="2696"/>
        <pc:sldMkLst>
          <pc:docMk/>
          <pc:sldMk cId="1333088040" sldId="410"/>
        </pc:sldMkLst>
      </pc:sldChg>
      <pc:sldChg chg="add del">
        <pc:chgData name="Chunyen Li (李 俊諺)" userId="40660eec-0f7d-4f76-820a-6b6c2202dd67" providerId="ADAL" clId="{27675839-2FA2-552B-B863-17B94EBDFF3D}" dt="2026-07-17T13:11:34.991" v="8195" actId="2696"/>
        <pc:sldMkLst>
          <pc:docMk/>
          <pc:sldMk cId="1974306206" sldId="410"/>
        </pc:sldMkLst>
      </pc:sldChg>
      <pc:sldChg chg="delSp modSp add mod">
        <pc:chgData name="Chunyen Li (李 俊諺)" userId="40660eec-0f7d-4f76-820a-6b6c2202dd67" providerId="ADAL" clId="{27675839-2FA2-552B-B863-17B94EBDFF3D}" dt="2026-07-17T22:10:06.272" v="9389" actId="13926"/>
        <pc:sldMkLst>
          <pc:docMk/>
          <pc:sldMk cId="2281842450" sldId="410"/>
        </pc:sldMkLst>
        <pc:spChg chg="del">
          <ac:chgData name="Chunyen Li (李 俊諺)" userId="40660eec-0f7d-4f76-820a-6b6c2202dd67" providerId="ADAL" clId="{27675839-2FA2-552B-B863-17B94EBDFF3D}" dt="2026-07-17T21:46:20.879" v="9232" actId="478"/>
          <ac:spMkLst>
            <pc:docMk/>
            <pc:sldMk cId="2281842450" sldId="410"/>
            <ac:spMk id="2" creationId="{61CDA22A-AAE4-E557-C279-AF1EB5C915B5}"/>
          </ac:spMkLst>
        </pc:spChg>
        <pc:spChg chg="mod">
          <ac:chgData name="Chunyen Li (李 俊諺)" userId="40660eec-0f7d-4f76-820a-6b6c2202dd67" providerId="ADAL" clId="{27675839-2FA2-552B-B863-17B94EBDFF3D}" dt="2026-07-17T22:10:06.272" v="9389" actId="13926"/>
          <ac:spMkLst>
            <pc:docMk/>
            <pc:sldMk cId="2281842450" sldId="410"/>
            <ac:spMk id="199" creationId="{F91951FC-901D-4D12-D51F-34A68F664816}"/>
          </ac:spMkLst>
        </pc:spChg>
      </pc:sldChg>
      <pc:sldChg chg="addSp delSp modSp add mod">
        <pc:chgData name="Chunyen Li (李 俊諺)" userId="40660eec-0f7d-4f76-820a-6b6c2202dd67" providerId="ADAL" clId="{27675839-2FA2-552B-B863-17B94EBDFF3D}" dt="2026-07-17T13:38:11.815" v="8214" actId="207"/>
        <pc:sldMkLst>
          <pc:docMk/>
          <pc:sldMk cId="1583426740" sldId="411"/>
        </pc:sldMkLst>
        <pc:spChg chg="add del mod">
          <ac:chgData name="Chunyen Li (李 俊諺)" userId="40660eec-0f7d-4f76-820a-6b6c2202dd67" providerId="ADAL" clId="{27675839-2FA2-552B-B863-17B94EBDFF3D}" dt="2026-07-17T13:37:54.920" v="8210" actId="478"/>
          <ac:spMkLst>
            <pc:docMk/>
            <pc:sldMk cId="1583426740" sldId="411"/>
            <ac:spMk id="3" creationId="{921B38AB-B7B2-A49E-9ECE-DF7D038A0033}"/>
          </ac:spMkLst>
        </pc:spChg>
        <pc:spChg chg="del">
          <ac:chgData name="Chunyen Li (李 俊諺)" userId="40660eec-0f7d-4f76-820a-6b6c2202dd67" providerId="ADAL" clId="{27675839-2FA2-552B-B863-17B94EBDFF3D}" dt="2026-07-17T13:37:50.903" v="8209" actId="478"/>
          <ac:spMkLst>
            <pc:docMk/>
            <pc:sldMk cId="1583426740" sldId="411"/>
            <ac:spMk id="10" creationId="{DB38D85A-7B33-F4BC-E797-A178AB727C71}"/>
          </ac:spMkLst>
        </pc:spChg>
        <pc:spChg chg="mod">
          <ac:chgData name="Chunyen Li (李 俊諺)" userId="40660eec-0f7d-4f76-820a-6b6c2202dd67" providerId="ADAL" clId="{27675839-2FA2-552B-B863-17B94EBDFF3D}" dt="2026-07-17T13:38:11.815" v="8214" actId="207"/>
          <ac:spMkLst>
            <pc:docMk/>
            <pc:sldMk cId="1583426740" sldId="411"/>
            <ac:spMk id="12" creationId="{8B8CB4A1-CE4F-4445-8430-4B90B90554CF}"/>
          </ac:spMkLst>
        </pc:spChg>
      </pc:sldChg>
      <pc:sldChg chg="modSp add mod">
        <pc:chgData name="Chunyen Li (李 俊諺)" userId="40660eec-0f7d-4f76-820a-6b6c2202dd67" providerId="ADAL" clId="{27675839-2FA2-552B-B863-17B94EBDFF3D}" dt="2026-07-17T13:38:31.763" v="8219" actId="113"/>
        <pc:sldMkLst>
          <pc:docMk/>
          <pc:sldMk cId="946642765" sldId="412"/>
        </pc:sldMkLst>
        <pc:spChg chg="mod">
          <ac:chgData name="Chunyen Li (李 俊諺)" userId="40660eec-0f7d-4f76-820a-6b6c2202dd67" providerId="ADAL" clId="{27675839-2FA2-552B-B863-17B94EBDFF3D}" dt="2026-07-17T13:38:31.763" v="8219" actId="113"/>
          <ac:spMkLst>
            <pc:docMk/>
            <pc:sldMk cId="946642765" sldId="412"/>
            <ac:spMk id="12" creationId="{B93B72EA-5BFF-E37A-6C84-6911706C3E3C}"/>
          </ac:spMkLst>
        </pc:spChg>
      </pc:sldChg>
      <pc:sldChg chg="modSp add mod">
        <pc:chgData name="Chunyen Li (李 俊諺)" userId="40660eec-0f7d-4f76-820a-6b6c2202dd67" providerId="ADAL" clId="{27675839-2FA2-552B-B863-17B94EBDFF3D}" dt="2026-07-17T13:38:50.719" v="8224" actId="207"/>
        <pc:sldMkLst>
          <pc:docMk/>
          <pc:sldMk cId="4084970945" sldId="413"/>
        </pc:sldMkLst>
        <pc:spChg chg="mod">
          <ac:chgData name="Chunyen Li (李 俊諺)" userId="40660eec-0f7d-4f76-820a-6b6c2202dd67" providerId="ADAL" clId="{27675839-2FA2-552B-B863-17B94EBDFF3D}" dt="2026-07-17T13:38:50.719" v="8224" actId="207"/>
          <ac:spMkLst>
            <pc:docMk/>
            <pc:sldMk cId="4084970945" sldId="413"/>
            <ac:spMk id="12" creationId="{0058ED38-CA09-5D21-317F-4AF477C3240C}"/>
          </ac:spMkLst>
        </pc:spChg>
      </pc:sldChg>
      <pc:sldChg chg="add">
        <pc:chgData name="Chunyen Li (李 俊諺)" userId="40660eec-0f7d-4f76-820a-6b6c2202dd67" providerId="ADAL" clId="{27675839-2FA2-552B-B863-17B94EBDFF3D}" dt="2026-07-18T01:49:47.267" v="9418"/>
        <pc:sldMkLst>
          <pc:docMk/>
          <pc:sldMk cId="1592876435" sldId="414"/>
        </pc:sldMkLst>
      </pc:sldChg>
      <pc:sldChg chg="add del">
        <pc:chgData name="Chunyen Li (李 俊諺)" userId="40660eec-0f7d-4f76-820a-6b6c2202dd67" providerId="ADAL" clId="{27675839-2FA2-552B-B863-17B94EBDFF3D}" dt="2026-07-18T01:49:39.530" v="9417"/>
        <pc:sldMkLst>
          <pc:docMk/>
          <pc:sldMk cId="1759352933" sldId="414"/>
        </pc:sldMkLst>
      </pc:sldChg>
    </pc:docChg>
  </pc:docChgLst>
  <pc:docChgLst>
    <pc:chgData name="Chunyen Li (李 俊諺)" userId="40660eec-0f7d-4f76-820a-6b6c2202dd67" providerId="ADAL" clId="{BFF7D067-EF6C-45E0-A6DE-19D0DA41B8A1}"/>
    <pc:docChg chg="addSld modSld modMainMaster modNotesMaster">
      <pc:chgData name="Chunyen Li (李 俊諺)" userId="40660eec-0f7d-4f76-820a-6b6c2202dd67" providerId="ADAL" clId="{BFF7D067-EF6C-45E0-A6DE-19D0DA41B8A1}" dt="2026-07-16T08:49:49.851" v="72"/>
      <pc:docMkLst>
        <pc:docMk/>
      </pc:docMkLst>
      <pc:sldChg chg="modSp">
        <pc:chgData name="Chunyen Li (李 俊諺)" userId="40660eec-0f7d-4f76-820a-6b6c2202dd67" providerId="ADAL" clId="{BFF7D067-EF6C-45E0-A6DE-19D0DA41B8A1}" dt="2026-07-16T06:35:10.814" v="3"/>
        <pc:sldMkLst>
          <pc:docMk/>
          <pc:sldMk cId="3830389775" sldId="256"/>
        </pc:sldMkLst>
        <pc:spChg chg="mod">
          <ac:chgData name="Chunyen Li (李 俊諺)" userId="40660eec-0f7d-4f76-820a-6b6c2202dd67" providerId="ADAL" clId="{BFF7D067-EF6C-45E0-A6DE-19D0DA41B8A1}" dt="2026-07-16T06:35:10.814" v="3"/>
          <ac:spMkLst>
            <pc:docMk/>
            <pc:sldMk cId="3830389775" sldId="256"/>
            <ac:spMk id="41" creationId="{8CB73E8D-85AE-4C4B-9AC7-FA18218BA6D0}"/>
          </ac:spMkLst>
        </pc:spChg>
        <pc:graphicFrameChg chg="mod">
          <ac:chgData name="Chunyen Li (李 俊諺)" userId="40660eec-0f7d-4f76-820a-6b6c2202dd67" providerId="ADAL" clId="{BFF7D067-EF6C-45E0-A6DE-19D0DA41B8A1}" dt="2026-07-16T06:35:10.814" v="3"/>
          <ac:graphicFrameMkLst>
            <pc:docMk/>
            <pc:sldMk cId="3830389775" sldId="256"/>
            <ac:graphicFrameMk id="2" creationId="{1878271C-6BA1-42B2-8091-8E78353CC4CB}"/>
          </ac:graphicFrameMkLst>
        </pc:graphicFrameChg>
        <pc:picChg chg="mod">
          <ac:chgData name="Chunyen Li (李 俊諺)" userId="40660eec-0f7d-4f76-820a-6b6c2202dd67" providerId="ADAL" clId="{BFF7D067-EF6C-45E0-A6DE-19D0DA41B8A1}" dt="2026-07-16T06:35:10.814" v="3"/>
          <ac:picMkLst>
            <pc:docMk/>
            <pc:sldMk cId="3830389775" sldId="256"/>
            <ac:picMk id="10" creationId="{93A8DCAD-36AC-A103-B8AC-677D59221D39}"/>
          </ac:picMkLst>
        </pc:picChg>
      </pc:sldChg>
      <pc:sldChg chg="modSp modNotes">
        <pc:chgData name="Chunyen Li (李 俊諺)" userId="40660eec-0f7d-4f76-820a-6b6c2202dd67" providerId="ADAL" clId="{BFF7D067-EF6C-45E0-A6DE-19D0DA41B8A1}" dt="2026-07-16T06:35:10.814" v="3"/>
        <pc:sldMkLst>
          <pc:docMk/>
          <pc:sldMk cId="893336769" sldId="313"/>
        </pc:sldMkLst>
        <pc:spChg chg="mod">
          <ac:chgData name="Chunyen Li (李 俊諺)" userId="40660eec-0f7d-4f76-820a-6b6c2202dd67" providerId="ADAL" clId="{BFF7D067-EF6C-45E0-A6DE-19D0DA41B8A1}" dt="2026-07-16T06:35:10.814" v="3"/>
          <ac:spMkLst>
            <pc:docMk/>
            <pc:sldMk cId="893336769" sldId="313"/>
            <ac:spMk id="3" creationId="{4BA1D761-569E-CF6B-CC89-117117B19D8D}"/>
          </ac:spMkLst>
        </pc:spChg>
        <pc:spChg chg="mod">
          <ac:chgData name="Chunyen Li (李 俊諺)" userId="40660eec-0f7d-4f76-820a-6b6c2202dd67" providerId="ADAL" clId="{BFF7D067-EF6C-45E0-A6DE-19D0DA41B8A1}" dt="2026-07-16T06:35:10.814" v="3"/>
          <ac:spMkLst>
            <pc:docMk/>
            <pc:sldMk cId="893336769" sldId="313"/>
            <ac:spMk id="6" creationId="{5BC95FA5-E73C-44CC-95D2-0B22A68D8DFD}"/>
          </ac:spMkLst>
        </pc:spChg>
        <pc:spChg chg="mod">
          <ac:chgData name="Chunyen Li (李 俊諺)" userId="40660eec-0f7d-4f76-820a-6b6c2202dd67" providerId="ADAL" clId="{BFF7D067-EF6C-45E0-A6DE-19D0DA41B8A1}" dt="2026-07-16T06:35:10.814" v="3"/>
          <ac:spMkLst>
            <pc:docMk/>
            <pc:sldMk cId="893336769" sldId="313"/>
            <ac:spMk id="19" creationId="{FBB551D0-F2F2-4A8E-8351-F4852A32192F}"/>
          </ac:spMkLst>
        </pc:spChg>
        <pc:spChg chg="mod">
          <ac:chgData name="Chunyen Li (李 俊諺)" userId="40660eec-0f7d-4f76-820a-6b6c2202dd67" providerId="ADAL" clId="{BFF7D067-EF6C-45E0-A6DE-19D0DA41B8A1}" dt="2026-07-16T06:35:10.814" v="3"/>
          <ac:spMkLst>
            <pc:docMk/>
            <pc:sldMk cId="893336769" sldId="313"/>
            <ac:spMk id="22" creationId="{47E0F046-ECF5-4370-A1CC-696346A157C2}"/>
          </ac:spMkLst>
        </pc:spChg>
        <pc:spChg chg="mod">
          <ac:chgData name="Chunyen Li (李 俊諺)" userId="40660eec-0f7d-4f76-820a-6b6c2202dd67" providerId="ADAL" clId="{BFF7D067-EF6C-45E0-A6DE-19D0DA41B8A1}" dt="2026-07-16T06:35:10.814" v="3"/>
          <ac:spMkLst>
            <pc:docMk/>
            <pc:sldMk cId="893336769" sldId="313"/>
            <ac:spMk id="27" creationId="{3887E92E-8DAF-4286-AEA1-CAF18C02FEFB}"/>
          </ac:spMkLst>
        </pc:spChg>
        <pc:spChg chg="mod">
          <ac:chgData name="Chunyen Li (李 俊諺)" userId="40660eec-0f7d-4f76-820a-6b6c2202dd67" providerId="ADAL" clId="{BFF7D067-EF6C-45E0-A6DE-19D0DA41B8A1}" dt="2026-07-16T06:35:10.814" v="3"/>
          <ac:spMkLst>
            <pc:docMk/>
            <pc:sldMk cId="893336769" sldId="313"/>
            <ac:spMk id="30" creationId="{7BF63926-E23E-4DE0-B103-196B2F314F9E}"/>
          </ac:spMkLst>
        </pc:spChg>
        <pc:spChg chg="mod">
          <ac:chgData name="Chunyen Li (李 俊諺)" userId="40660eec-0f7d-4f76-820a-6b6c2202dd67" providerId="ADAL" clId="{BFF7D067-EF6C-45E0-A6DE-19D0DA41B8A1}" dt="2026-07-16T06:35:10.814" v="3"/>
          <ac:spMkLst>
            <pc:docMk/>
            <pc:sldMk cId="893336769" sldId="313"/>
            <ac:spMk id="39" creationId="{64573A80-010E-4FAF-AD8B-26239D693E2B}"/>
          </ac:spMkLst>
        </pc:spChg>
        <pc:spChg chg="mod">
          <ac:chgData name="Chunyen Li (李 俊諺)" userId="40660eec-0f7d-4f76-820a-6b6c2202dd67" providerId="ADAL" clId="{BFF7D067-EF6C-45E0-A6DE-19D0DA41B8A1}" dt="2026-07-16T06:35:10.814" v="3"/>
          <ac:spMkLst>
            <pc:docMk/>
            <pc:sldMk cId="893336769" sldId="313"/>
            <ac:spMk id="41" creationId="{05C557DB-F0D0-47CE-A99E-5BE13B7504E2}"/>
          </ac:spMkLst>
        </pc:spChg>
        <pc:spChg chg="mod">
          <ac:chgData name="Chunyen Li (李 俊諺)" userId="40660eec-0f7d-4f76-820a-6b6c2202dd67" providerId="ADAL" clId="{BFF7D067-EF6C-45E0-A6DE-19D0DA41B8A1}" dt="2026-07-16T06:35:10.814" v="3"/>
          <ac:spMkLst>
            <pc:docMk/>
            <pc:sldMk cId="893336769" sldId="313"/>
            <ac:spMk id="46" creationId="{2F19D760-73B2-410A-B169-CC94BDFC9DD2}"/>
          </ac:spMkLst>
        </pc:spChg>
        <pc:spChg chg="mod">
          <ac:chgData name="Chunyen Li (李 俊諺)" userId="40660eec-0f7d-4f76-820a-6b6c2202dd67" providerId="ADAL" clId="{BFF7D067-EF6C-45E0-A6DE-19D0DA41B8A1}" dt="2026-07-16T06:35:10.814" v="3"/>
          <ac:spMkLst>
            <pc:docMk/>
            <pc:sldMk cId="893336769" sldId="313"/>
            <ac:spMk id="48" creationId="{5574155E-533D-4891-BF4F-3D1AE2A4A8E0}"/>
          </ac:spMkLst>
        </pc:spChg>
      </pc:sldChg>
      <pc:sldChg chg="modSp">
        <pc:chgData name="Chunyen Li (李 俊諺)" userId="40660eec-0f7d-4f76-820a-6b6c2202dd67" providerId="ADAL" clId="{BFF7D067-EF6C-45E0-A6DE-19D0DA41B8A1}" dt="2026-07-16T06:35:10.814" v="3"/>
        <pc:sldMkLst>
          <pc:docMk/>
          <pc:sldMk cId="3065702137" sldId="330"/>
        </pc:sldMkLst>
        <pc:spChg chg="mod">
          <ac:chgData name="Chunyen Li (李 俊諺)" userId="40660eec-0f7d-4f76-820a-6b6c2202dd67" providerId="ADAL" clId="{BFF7D067-EF6C-45E0-A6DE-19D0DA41B8A1}" dt="2026-07-16T06:35:10.814" v="3"/>
          <ac:spMkLst>
            <pc:docMk/>
            <pc:sldMk cId="3065702137" sldId="330"/>
            <ac:spMk id="2" creationId="{DF7990AA-9DD2-4FDA-A0B3-FEAAD05B75D0}"/>
          </ac:spMkLst>
        </pc:spChg>
        <pc:spChg chg="mod">
          <ac:chgData name="Chunyen Li (李 俊諺)" userId="40660eec-0f7d-4f76-820a-6b6c2202dd67" providerId="ADAL" clId="{BFF7D067-EF6C-45E0-A6DE-19D0DA41B8A1}" dt="2026-07-16T06:35:10.814" v="3"/>
          <ac:spMkLst>
            <pc:docMk/>
            <pc:sldMk cId="3065702137" sldId="330"/>
            <ac:spMk id="5" creationId="{7F21A0AB-3E84-4131-AC77-E7CE6025F124}"/>
          </ac:spMkLst>
        </pc:spChg>
        <pc:spChg chg="mod">
          <ac:chgData name="Chunyen Li (李 俊諺)" userId="40660eec-0f7d-4f76-820a-6b6c2202dd67" providerId="ADAL" clId="{BFF7D067-EF6C-45E0-A6DE-19D0DA41B8A1}" dt="2026-07-16T06:35:10.814" v="3"/>
          <ac:spMkLst>
            <pc:docMk/>
            <pc:sldMk cId="3065702137" sldId="330"/>
            <ac:spMk id="11" creationId="{CCF3F038-D3AF-4B01-92E0-A8A00573BA70}"/>
          </ac:spMkLst>
        </pc:spChg>
        <pc:spChg chg="mod">
          <ac:chgData name="Chunyen Li (李 俊諺)" userId="40660eec-0f7d-4f76-820a-6b6c2202dd67" providerId="ADAL" clId="{BFF7D067-EF6C-45E0-A6DE-19D0DA41B8A1}" dt="2026-07-16T06:35:10.814" v="3"/>
          <ac:spMkLst>
            <pc:docMk/>
            <pc:sldMk cId="3065702137" sldId="330"/>
            <ac:spMk id="21" creationId="{684D143B-C562-4237-92CE-B2CC0B4F547E}"/>
          </ac:spMkLst>
        </pc:spChg>
        <pc:spChg chg="mod">
          <ac:chgData name="Chunyen Li (李 俊諺)" userId="40660eec-0f7d-4f76-820a-6b6c2202dd67" providerId="ADAL" clId="{BFF7D067-EF6C-45E0-A6DE-19D0DA41B8A1}" dt="2026-07-16T06:35:10.814" v="3"/>
          <ac:spMkLst>
            <pc:docMk/>
            <pc:sldMk cId="3065702137" sldId="330"/>
            <ac:spMk id="25" creationId="{C61CC914-3828-47A4-92E3-3820D431E3F0}"/>
          </ac:spMkLst>
        </pc:spChg>
        <pc:spChg chg="mod">
          <ac:chgData name="Chunyen Li (李 俊諺)" userId="40660eec-0f7d-4f76-820a-6b6c2202dd67" providerId="ADAL" clId="{BFF7D067-EF6C-45E0-A6DE-19D0DA41B8A1}" dt="2026-07-16T06:35:10.814" v="3"/>
          <ac:spMkLst>
            <pc:docMk/>
            <pc:sldMk cId="3065702137" sldId="330"/>
            <ac:spMk id="29" creationId="{78777214-DD16-4988-97A7-E2EFAD3C7682}"/>
          </ac:spMkLst>
        </pc:spChg>
        <pc:picChg chg="mod">
          <ac:chgData name="Chunyen Li (李 俊諺)" userId="40660eec-0f7d-4f76-820a-6b6c2202dd67" providerId="ADAL" clId="{BFF7D067-EF6C-45E0-A6DE-19D0DA41B8A1}" dt="2026-07-16T06:35:10.814" v="3"/>
          <ac:picMkLst>
            <pc:docMk/>
            <pc:sldMk cId="3065702137" sldId="330"/>
            <ac:picMk id="9" creationId="{31C23B2F-78D1-4164-AC47-0F404F8B1DCE}"/>
          </ac:picMkLst>
        </pc:picChg>
        <pc:picChg chg="mod">
          <ac:chgData name="Chunyen Li (李 俊諺)" userId="40660eec-0f7d-4f76-820a-6b6c2202dd67" providerId="ADAL" clId="{BFF7D067-EF6C-45E0-A6DE-19D0DA41B8A1}" dt="2026-07-16T06:35:10.814" v="3"/>
          <ac:picMkLst>
            <pc:docMk/>
            <pc:sldMk cId="3065702137" sldId="330"/>
            <ac:picMk id="24" creationId="{76C0133F-2B58-4E89-9968-381D559B68F8}"/>
          </ac:picMkLst>
        </pc:picChg>
        <pc:picChg chg="mod">
          <ac:chgData name="Chunyen Li (李 俊諺)" userId="40660eec-0f7d-4f76-820a-6b6c2202dd67" providerId="ADAL" clId="{BFF7D067-EF6C-45E0-A6DE-19D0DA41B8A1}" dt="2026-07-16T06:35:10.814" v="3"/>
          <ac:picMkLst>
            <pc:docMk/>
            <pc:sldMk cId="3065702137" sldId="330"/>
            <ac:picMk id="26" creationId="{F3890E51-9E2F-4A25-A778-4734E9597292}"/>
          </ac:picMkLst>
        </pc:picChg>
        <pc:picChg chg="mod">
          <ac:chgData name="Chunyen Li (李 俊諺)" userId="40660eec-0f7d-4f76-820a-6b6c2202dd67" providerId="ADAL" clId="{BFF7D067-EF6C-45E0-A6DE-19D0DA41B8A1}" dt="2026-07-16T06:35:10.814" v="3"/>
          <ac:picMkLst>
            <pc:docMk/>
            <pc:sldMk cId="3065702137" sldId="330"/>
            <ac:picMk id="28" creationId="{A53D42C6-D728-4C35-969C-4F5A9D3C37C7}"/>
          </ac:picMkLst>
        </pc:picChg>
      </pc:sldChg>
      <pc:sldChg chg="modSp">
        <pc:chgData name="Chunyen Li (李 俊諺)" userId="40660eec-0f7d-4f76-820a-6b6c2202dd67" providerId="ADAL" clId="{BFF7D067-EF6C-45E0-A6DE-19D0DA41B8A1}" dt="2026-07-16T06:35:10.814" v="3"/>
        <pc:sldMkLst>
          <pc:docMk/>
          <pc:sldMk cId="1592903402" sldId="334"/>
        </pc:sldMkLst>
        <pc:spChg chg="mod">
          <ac:chgData name="Chunyen Li (李 俊諺)" userId="40660eec-0f7d-4f76-820a-6b6c2202dd67" providerId="ADAL" clId="{BFF7D067-EF6C-45E0-A6DE-19D0DA41B8A1}" dt="2026-07-16T06:35:10.814" v="3"/>
          <ac:spMkLst>
            <pc:docMk/>
            <pc:sldMk cId="1592903402" sldId="334"/>
            <ac:spMk id="4" creationId="{F6832A3F-0345-4EA0-1D23-07021C7549D1}"/>
          </ac:spMkLst>
        </pc:spChg>
        <pc:spChg chg="mod">
          <ac:chgData name="Chunyen Li (李 俊諺)" userId="40660eec-0f7d-4f76-820a-6b6c2202dd67" providerId="ADAL" clId="{BFF7D067-EF6C-45E0-A6DE-19D0DA41B8A1}" dt="2026-07-16T06:35:10.814" v="3"/>
          <ac:spMkLst>
            <pc:docMk/>
            <pc:sldMk cId="1592903402" sldId="334"/>
            <ac:spMk id="13" creationId="{805631F3-A101-46F1-B7CB-031A91E6BD01}"/>
          </ac:spMkLst>
        </pc:spChg>
        <pc:spChg chg="mod">
          <ac:chgData name="Chunyen Li (李 俊諺)" userId="40660eec-0f7d-4f76-820a-6b6c2202dd67" providerId="ADAL" clId="{BFF7D067-EF6C-45E0-A6DE-19D0DA41B8A1}" dt="2026-07-16T06:35:10.814" v="3"/>
          <ac:spMkLst>
            <pc:docMk/>
            <pc:sldMk cId="1592903402" sldId="334"/>
            <ac:spMk id="14" creationId="{340BE885-A9E6-45B0-A870-8432087DBD9B}"/>
          </ac:spMkLst>
        </pc:spChg>
        <pc:spChg chg="mod">
          <ac:chgData name="Chunyen Li (李 俊諺)" userId="40660eec-0f7d-4f76-820a-6b6c2202dd67" providerId="ADAL" clId="{BFF7D067-EF6C-45E0-A6DE-19D0DA41B8A1}" dt="2026-07-16T06:35:10.814" v="3"/>
          <ac:spMkLst>
            <pc:docMk/>
            <pc:sldMk cId="1592903402" sldId="334"/>
            <ac:spMk id="15" creationId="{5079D518-A145-42E9-B599-74ECC88D9FC2}"/>
          </ac:spMkLst>
        </pc:spChg>
        <pc:spChg chg="mod">
          <ac:chgData name="Chunyen Li (李 俊諺)" userId="40660eec-0f7d-4f76-820a-6b6c2202dd67" providerId="ADAL" clId="{BFF7D067-EF6C-45E0-A6DE-19D0DA41B8A1}" dt="2026-07-16T06:35:10.814" v="3"/>
          <ac:spMkLst>
            <pc:docMk/>
            <pc:sldMk cId="1592903402" sldId="334"/>
            <ac:spMk id="16" creationId="{96F43F89-8A77-47DC-B603-7825F2C164F9}"/>
          </ac:spMkLst>
        </pc:spChg>
        <pc:spChg chg="mod">
          <ac:chgData name="Chunyen Li (李 俊諺)" userId="40660eec-0f7d-4f76-820a-6b6c2202dd67" providerId="ADAL" clId="{BFF7D067-EF6C-45E0-A6DE-19D0DA41B8A1}" dt="2026-07-16T06:35:10.814" v="3"/>
          <ac:spMkLst>
            <pc:docMk/>
            <pc:sldMk cId="1592903402" sldId="334"/>
            <ac:spMk id="17" creationId="{86CA7095-4F8C-44B9-AB34-CC6A04EFD218}"/>
          </ac:spMkLst>
        </pc:spChg>
        <pc:spChg chg="mod">
          <ac:chgData name="Chunyen Li (李 俊諺)" userId="40660eec-0f7d-4f76-820a-6b6c2202dd67" providerId="ADAL" clId="{BFF7D067-EF6C-45E0-A6DE-19D0DA41B8A1}" dt="2026-07-16T06:35:10.814" v="3"/>
          <ac:spMkLst>
            <pc:docMk/>
            <pc:sldMk cId="1592903402" sldId="334"/>
            <ac:spMk id="23" creationId="{A31DF07A-0010-4E17-8063-6BA3345D44E5}"/>
          </ac:spMkLst>
        </pc:spChg>
        <pc:spChg chg="mod">
          <ac:chgData name="Chunyen Li (李 俊諺)" userId="40660eec-0f7d-4f76-820a-6b6c2202dd67" providerId="ADAL" clId="{BFF7D067-EF6C-45E0-A6DE-19D0DA41B8A1}" dt="2026-07-16T06:35:10.814" v="3"/>
          <ac:spMkLst>
            <pc:docMk/>
            <pc:sldMk cId="1592903402" sldId="334"/>
            <ac:spMk id="24" creationId="{BFEA7426-79B6-4A63-9179-B87FC6BDC2EB}"/>
          </ac:spMkLst>
        </pc:spChg>
        <pc:spChg chg="mod">
          <ac:chgData name="Chunyen Li (李 俊諺)" userId="40660eec-0f7d-4f76-820a-6b6c2202dd67" providerId="ADAL" clId="{BFF7D067-EF6C-45E0-A6DE-19D0DA41B8A1}" dt="2026-07-16T06:35:10.814" v="3"/>
          <ac:spMkLst>
            <pc:docMk/>
            <pc:sldMk cId="1592903402" sldId="334"/>
            <ac:spMk id="26" creationId="{E754AA91-12D9-44AB-8790-616B50D20997}"/>
          </ac:spMkLst>
        </pc:spChg>
        <pc:spChg chg="mod">
          <ac:chgData name="Chunyen Li (李 俊諺)" userId="40660eec-0f7d-4f76-820a-6b6c2202dd67" providerId="ADAL" clId="{BFF7D067-EF6C-45E0-A6DE-19D0DA41B8A1}" dt="2026-07-16T06:35:10.814" v="3"/>
          <ac:spMkLst>
            <pc:docMk/>
            <pc:sldMk cId="1592903402" sldId="334"/>
            <ac:spMk id="36" creationId="{C36371FB-FE1E-4E7D-86C9-706F594E7D73}"/>
          </ac:spMkLst>
        </pc:spChg>
      </pc:sldChg>
      <pc:sldChg chg="modSp modNotes">
        <pc:chgData name="Chunyen Li (李 俊諺)" userId="40660eec-0f7d-4f76-820a-6b6c2202dd67" providerId="ADAL" clId="{BFF7D067-EF6C-45E0-A6DE-19D0DA41B8A1}" dt="2026-07-16T06:35:10.814" v="3"/>
        <pc:sldMkLst>
          <pc:docMk/>
          <pc:sldMk cId="4215636120" sldId="337"/>
        </pc:sldMkLst>
        <pc:spChg chg="mod">
          <ac:chgData name="Chunyen Li (李 俊諺)" userId="40660eec-0f7d-4f76-820a-6b6c2202dd67" providerId="ADAL" clId="{BFF7D067-EF6C-45E0-A6DE-19D0DA41B8A1}" dt="2026-07-16T06:35:10.814" v="3"/>
          <ac:spMkLst>
            <pc:docMk/>
            <pc:sldMk cId="4215636120" sldId="337"/>
            <ac:spMk id="5" creationId="{BF4A3B46-03D1-284E-4D9A-E40ECEEA2063}"/>
          </ac:spMkLst>
        </pc:spChg>
        <pc:spChg chg="mod">
          <ac:chgData name="Chunyen Li (李 俊諺)" userId="40660eec-0f7d-4f76-820a-6b6c2202dd67" providerId="ADAL" clId="{BFF7D067-EF6C-45E0-A6DE-19D0DA41B8A1}" dt="2026-07-16T06:35:10.814" v="3"/>
          <ac:spMkLst>
            <pc:docMk/>
            <pc:sldMk cId="4215636120" sldId="337"/>
            <ac:spMk id="8" creationId="{F7AF819D-98DB-EEDC-01C5-85EECEBA2EAC}"/>
          </ac:spMkLst>
        </pc:spChg>
        <pc:spChg chg="mod">
          <ac:chgData name="Chunyen Li (李 俊諺)" userId="40660eec-0f7d-4f76-820a-6b6c2202dd67" providerId="ADAL" clId="{BFF7D067-EF6C-45E0-A6DE-19D0DA41B8A1}" dt="2026-07-16T06:35:10.814" v="3"/>
          <ac:spMkLst>
            <pc:docMk/>
            <pc:sldMk cId="4215636120" sldId="337"/>
            <ac:spMk id="38" creationId="{E604D893-2C46-4451-AEF3-A552459754B3}"/>
          </ac:spMkLst>
        </pc:spChg>
        <pc:spChg chg="mod">
          <ac:chgData name="Chunyen Li (李 俊諺)" userId="40660eec-0f7d-4f76-820a-6b6c2202dd67" providerId="ADAL" clId="{BFF7D067-EF6C-45E0-A6DE-19D0DA41B8A1}" dt="2026-07-16T06:35:10.814" v="3"/>
          <ac:spMkLst>
            <pc:docMk/>
            <pc:sldMk cId="4215636120" sldId="337"/>
            <ac:spMk id="39" creationId="{64573A80-010E-4FAF-AD8B-26239D693E2B}"/>
          </ac:spMkLst>
        </pc:spChg>
        <pc:spChg chg="mod">
          <ac:chgData name="Chunyen Li (李 俊諺)" userId="40660eec-0f7d-4f76-820a-6b6c2202dd67" providerId="ADAL" clId="{BFF7D067-EF6C-45E0-A6DE-19D0DA41B8A1}" dt="2026-07-16T06:35:10.814" v="3"/>
          <ac:spMkLst>
            <pc:docMk/>
            <pc:sldMk cId="4215636120" sldId="337"/>
            <ac:spMk id="51" creationId="{EAC1C62A-8C35-4407-A50C-AA2EFC6E25F2}"/>
          </ac:spMkLst>
        </pc:spChg>
        <pc:spChg chg="mod">
          <ac:chgData name="Chunyen Li (李 俊諺)" userId="40660eec-0f7d-4f76-820a-6b6c2202dd67" providerId="ADAL" clId="{BFF7D067-EF6C-45E0-A6DE-19D0DA41B8A1}" dt="2026-07-16T06:35:10.814" v="3"/>
          <ac:spMkLst>
            <pc:docMk/>
            <pc:sldMk cId="4215636120" sldId="337"/>
            <ac:spMk id="53" creationId="{C00944EE-DE3C-4536-ADBA-6041472910AC}"/>
          </ac:spMkLst>
        </pc:spChg>
        <pc:spChg chg="mod">
          <ac:chgData name="Chunyen Li (李 俊諺)" userId="40660eec-0f7d-4f76-820a-6b6c2202dd67" providerId="ADAL" clId="{BFF7D067-EF6C-45E0-A6DE-19D0DA41B8A1}" dt="2026-07-16T06:35:10.814" v="3"/>
          <ac:spMkLst>
            <pc:docMk/>
            <pc:sldMk cId="4215636120" sldId="337"/>
            <ac:spMk id="54" creationId="{6086BAC9-BF53-45E7-A751-6CA208D7DF98}"/>
          </ac:spMkLst>
        </pc:spChg>
        <pc:spChg chg="mod">
          <ac:chgData name="Chunyen Li (李 俊諺)" userId="40660eec-0f7d-4f76-820a-6b6c2202dd67" providerId="ADAL" clId="{BFF7D067-EF6C-45E0-A6DE-19D0DA41B8A1}" dt="2026-07-16T06:35:10.814" v="3"/>
          <ac:spMkLst>
            <pc:docMk/>
            <pc:sldMk cId="4215636120" sldId="337"/>
            <ac:spMk id="62" creationId="{9F09E8AC-7202-40E6-8759-36531740363A}"/>
          </ac:spMkLst>
        </pc:spChg>
        <pc:spChg chg="mod">
          <ac:chgData name="Chunyen Li (李 俊諺)" userId="40660eec-0f7d-4f76-820a-6b6c2202dd67" providerId="ADAL" clId="{BFF7D067-EF6C-45E0-A6DE-19D0DA41B8A1}" dt="2026-07-16T06:35:10.814" v="3"/>
          <ac:spMkLst>
            <pc:docMk/>
            <pc:sldMk cId="4215636120" sldId="337"/>
            <ac:spMk id="68" creationId="{A4D1334A-8886-4D77-8E81-40112B7DC118}"/>
          </ac:spMkLst>
        </pc:spChg>
        <pc:spChg chg="mod">
          <ac:chgData name="Chunyen Li (李 俊諺)" userId="40660eec-0f7d-4f76-820a-6b6c2202dd67" providerId="ADAL" clId="{BFF7D067-EF6C-45E0-A6DE-19D0DA41B8A1}" dt="2026-07-16T06:35:10.814" v="3"/>
          <ac:spMkLst>
            <pc:docMk/>
            <pc:sldMk cId="4215636120" sldId="337"/>
            <ac:spMk id="84" creationId="{1902B22E-466C-401F-BCC0-1985558A2E66}"/>
          </ac:spMkLst>
        </pc:spChg>
      </pc:sldChg>
      <pc:sldChg chg="modSp modNotes">
        <pc:chgData name="Chunyen Li (李 俊諺)" userId="40660eec-0f7d-4f76-820a-6b6c2202dd67" providerId="ADAL" clId="{BFF7D067-EF6C-45E0-A6DE-19D0DA41B8A1}" dt="2026-07-16T06:35:10.814" v="3"/>
        <pc:sldMkLst>
          <pc:docMk/>
          <pc:sldMk cId="116491816" sldId="338"/>
        </pc:sldMkLst>
        <pc:spChg chg="mod">
          <ac:chgData name="Chunyen Li (李 俊諺)" userId="40660eec-0f7d-4f76-820a-6b6c2202dd67" providerId="ADAL" clId="{BFF7D067-EF6C-45E0-A6DE-19D0DA41B8A1}" dt="2026-07-16T06:35:10.814" v="3"/>
          <ac:spMkLst>
            <pc:docMk/>
            <pc:sldMk cId="116491816" sldId="338"/>
            <ac:spMk id="7" creationId="{621E9898-BF11-4B3C-ABB8-EC305E5EB5D3}"/>
          </ac:spMkLst>
        </pc:spChg>
        <pc:spChg chg="mod">
          <ac:chgData name="Chunyen Li (李 俊諺)" userId="40660eec-0f7d-4f76-820a-6b6c2202dd67" providerId="ADAL" clId="{BFF7D067-EF6C-45E0-A6DE-19D0DA41B8A1}" dt="2026-07-16T06:35:10.814" v="3"/>
          <ac:spMkLst>
            <pc:docMk/>
            <pc:sldMk cId="116491816" sldId="338"/>
            <ac:spMk id="32" creationId="{FC4AB76B-D795-4588-B558-7F6C3D87C227}"/>
          </ac:spMkLst>
        </pc:spChg>
        <pc:spChg chg="mod">
          <ac:chgData name="Chunyen Li (李 俊諺)" userId="40660eec-0f7d-4f76-820a-6b6c2202dd67" providerId="ADAL" clId="{BFF7D067-EF6C-45E0-A6DE-19D0DA41B8A1}" dt="2026-07-16T06:35:10.814" v="3"/>
          <ac:spMkLst>
            <pc:docMk/>
            <pc:sldMk cId="116491816" sldId="338"/>
            <ac:spMk id="77" creationId="{094FC6F1-BC74-43C6-B4DD-62BC39D362CA}"/>
          </ac:spMkLst>
        </pc:spChg>
        <pc:spChg chg="mod">
          <ac:chgData name="Chunyen Li (李 俊諺)" userId="40660eec-0f7d-4f76-820a-6b6c2202dd67" providerId="ADAL" clId="{BFF7D067-EF6C-45E0-A6DE-19D0DA41B8A1}" dt="2026-07-16T06:35:10.814" v="3"/>
          <ac:spMkLst>
            <pc:docMk/>
            <pc:sldMk cId="116491816" sldId="338"/>
            <ac:spMk id="104" creationId="{935192A5-B31D-4345-AAE4-0C5D03CD0BCD}"/>
          </ac:spMkLst>
        </pc:spChg>
        <pc:spChg chg="mod">
          <ac:chgData name="Chunyen Li (李 俊諺)" userId="40660eec-0f7d-4f76-820a-6b6c2202dd67" providerId="ADAL" clId="{BFF7D067-EF6C-45E0-A6DE-19D0DA41B8A1}" dt="2026-07-16T06:35:10.814" v="3"/>
          <ac:spMkLst>
            <pc:docMk/>
            <pc:sldMk cId="116491816" sldId="338"/>
            <ac:spMk id="110" creationId="{DFE00DAD-EF9E-487B-97AC-42686747A94F}"/>
          </ac:spMkLst>
        </pc:spChg>
        <pc:spChg chg="mod">
          <ac:chgData name="Chunyen Li (李 俊諺)" userId="40660eec-0f7d-4f76-820a-6b6c2202dd67" providerId="ADAL" clId="{BFF7D067-EF6C-45E0-A6DE-19D0DA41B8A1}" dt="2026-07-16T06:35:10.814" v="3"/>
          <ac:spMkLst>
            <pc:docMk/>
            <pc:sldMk cId="116491816" sldId="338"/>
            <ac:spMk id="162" creationId="{2761DF2A-A1B6-44FA-B40C-21BC06BC99F4}"/>
          </ac:spMkLst>
        </pc:spChg>
        <pc:spChg chg="mod">
          <ac:chgData name="Chunyen Li (李 俊諺)" userId="40660eec-0f7d-4f76-820a-6b6c2202dd67" providerId="ADAL" clId="{BFF7D067-EF6C-45E0-A6DE-19D0DA41B8A1}" dt="2026-07-16T06:35:10.814" v="3"/>
          <ac:spMkLst>
            <pc:docMk/>
            <pc:sldMk cId="116491816" sldId="338"/>
            <ac:spMk id="183" creationId="{E0B54E61-C064-4AF0-9CFD-93A0B2D020DC}"/>
          </ac:spMkLst>
        </pc:spChg>
        <pc:spChg chg="mod">
          <ac:chgData name="Chunyen Li (李 俊諺)" userId="40660eec-0f7d-4f76-820a-6b6c2202dd67" providerId="ADAL" clId="{BFF7D067-EF6C-45E0-A6DE-19D0DA41B8A1}" dt="2026-07-16T06:35:10.814" v="3"/>
          <ac:spMkLst>
            <pc:docMk/>
            <pc:sldMk cId="116491816" sldId="338"/>
            <ac:spMk id="190" creationId="{50F14EBF-FDCD-477A-8FA4-D028969D4F85}"/>
          </ac:spMkLst>
        </pc:spChg>
        <pc:spChg chg="mod">
          <ac:chgData name="Chunyen Li (李 俊諺)" userId="40660eec-0f7d-4f76-820a-6b6c2202dd67" providerId="ADAL" clId="{BFF7D067-EF6C-45E0-A6DE-19D0DA41B8A1}" dt="2026-07-16T06:35:10.814" v="3"/>
          <ac:spMkLst>
            <pc:docMk/>
            <pc:sldMk cId="116491816" sldId="338"/>
            <ac:spMk id="192" creationId="{52CD62F0-ABCE-4350-BFEF-B72DCDF4A366}"/>
          </ac:spMkLst>
        </pc:spChg>
        <pc:spChg chg="mod">
          <ac:chgData name="Chunyen Li (李 俊諺)" userId="40660eec-0f7d-4f76-820a-6b6c2202dd67" providerId="ADAL" clId="{BFF7D067-EF6C-45E0-A6DE-19D0DA41B8A1}" dt="2026-07-16T06:35:10.814" v="3"/>
          <ac:spMkLst>
            <pc:docMk/>
            <pc:sldMk cId="116491816" sldId="338"/>
            <ac:spMk id="193" creationId="{707F51FC-292E-4117-B48F-57B1BFDD4950}"/>
          </ac:spMkLst>
        </pc:spChg>
      </pc:sldChg>
      <pc:sldChg chg="modSp modNotes">
        <pc:chgData name="Chunyen Li (李 俊諺)" userId="40660eec-0f7d-4f76-820a-6b6c2202dd67" providerId="ADAL" clId="{BFF7D067-EF6C-45E0-A6DE-19D0DA41B8A1}" dt="2026-07-16T06:35:10.814" v="3"/>
        <pc:sldMkLst>
          <pc:docMk/>
          <pc:sldMk cId="4249384151" sldId="340"/>
        </pc:sldMkLst>
        <pc:spChg chg="mod">
          <ac:chgData name="Chunyen Li (李 俊諺)" userId="40660eec-0f7d-4f76-820a-6b6c2202dd67" providerId="ADAL" clId="{BFF7D067-EF6C-45E0-A6DE-19D0DA41B8A1}" dt="2026-07-16T06:35:10.814" v="3"/>
          <ac:spMkLst>
            <pc:docMk/>
            <pc:sldMk cId="4249384151" sldId="340"/>
            <ac:spMk id="19" creationId="{66A5276E-5510-02A4-DFC8-47D7B4C32524}"/>
          </ac:spMkLst>
        </pc:spChg>
        <pc:spChg chg="mod">
          <ac:chgData name="Chunyen Li (李 俊諺)" userId="40660eec-0f7d-4f76-820a-6b6c2202dd67" providerId="ADAL" clId="{BFF7D067-EF6C-45E0-A6DE-19D0DA41B8A1}" dt="2026-07-16T06:35:10.814" v="3"/>
          <ac:spMkLst>
            <pc:docMk/>
            <pc:sldMk cId="4249384151" sldId="340"/>
            <ac:spMk id="52" creationId="{547355C9-B3EA-0DF3-462B-68A21E2BCB72}"/>
          </ac:spMkLst>
        </pc:spChg>
        <pc:spChg chg="mod">
          <ac:chgData name="Chunyen Li (李 俊諺)" userId="40660eec-0f7d-4f76-820a-6b6c2202dd67" providerId="ADAL" clId="{BFF7D067-EF6C-45E0-A6DE-19D0DA41B8A1}" dt="2026-07-16T06:35:10.814" v="3"/>
          <ac:spMkLst>
            <pc:docMk/>
            <pc:sldMk cId="4249384151" sldId="340"/>
            <ac:spMk id="81" creationId="{00FA0F33-B7A6-55E8-2F1F-305BEEBEB0E4}"/>
          </ac:spMkLst>
        </pc:spChg>
        <pc:spChg chg="mod">
          <ac:chgData name="Chunyen Li (李 俊諺)" userId="40660eec-0f7d-4f76-820a-6b6c2202dd67" providerId="ADAL" clId="{BFF7D067-EF6C-45E0-A6DE-19D0DA41B8A1}" dt="2026-07-16T06:35:10.814" v="3"/>
          <ac:spMkLst>
            <pc:docMk/>
            <pc:sldMk cId="4249384151" sldId="340"/>
            <ac:spMk id="82" creationId="{3178BC97-ECE6-AE06-A7FE-4A73A9492784}"/>
          </ac:spMkLst>
        </pc:spChg>
        <pc:spChg chg="mod">
          <ac:chgData name="Chunyen Li (李 俊諺)" userId="40660eec-0f7d-4f76-820a-6b6c2202dd67" providerId="ADAL" clId="{BFF7D067-EF6C-45E0-A6DE-19D0DA41B8A1}" dt="2026-07-16T06:35:10.814" v="3"/>
          <ac:spMkLst>
            <pc:docMk/>
            <pc:sldMk cId="4249384151" sldId="340"/>
            <ac:spMk id="111" creationId="{DF46A90D-4C6A-A985-BE5A-CE37A059CD68}"/>
          </ac:spMkLst>
        </pc:spChg>
        <pc:spChg chg="mod">
          <ac:chgData name="Chunyen Li (李 俊諺)" userId="40660eec-0f7d-4f76-820a-6b6c2202dd67" providerId="ADAL" clId="{BFF7D067-EF6C-45E0-A6DE-19D0DA41B8A1}" dt="2026-07-16T06:35:10.814" v="3"/>
          <ac:spMkLst>
            <pc:docMk/>
            <pc:sldMk cId="4249384151" sldId="340"/>
            <ac:spMk id="164" creationId="{35230151-917E-6C16-AB34-845DF96DC532}"/>
          </ac:spMkLst>
        </pc:spChg>
        <pc:spChg chg="mod">
          <ac:chgData name="Chunyen Li (李 俊諺)" userId="40660eec-0f7d-4f76-820a-6b6c2202dd67" providerId="ADAL" clId="{BFF7D067-EF6C-45E0-A6DE-19D0DA41B8A1}" dt="2026-07-16T06:35:10.814" v="3"/>
          <ac:spMkLst>
            <pc:docMk/>
            <pc:sldMk cId="4249384151" sldId="340"/>
            <ac:spMk id="189" creationId="{D8DF0A60-7372-3A68-5E4D-BDD9E355FB69}"/>
          </ac:spMkLst>
        </pc:spChg>
        <pc:spChg chg="mod">
          <ac:chgData name="Chunyen Li (李 俊諺)" userId="40660eec-0f7d-4f76-820a-6b6c2202dd67" providerId="ADAL" clId="{BFF7D067-EF6C-45E0-A6DE-19D0DA41B8A1}" dt="2026-07-16T06:35:10.814" v="3"/>
          <ac:spMkLst>
            <pc:docMk/>
            <pc:sldMk cId="4249384151" sldId="340"/>
            <ac:spMk id="190" creationId="{D06558AC-EE0F-57EC-C169-8749E23D453C}"/>
          </ac:spMkLst>
        </pc:spChg>
        <pc:spChg chg="mod">
          <ac:chgData name="Chunyen Li (李 俊諺)" userId="40660eec-0f7d-4f76-820a-6b6c2202dd67" providerId="ADAL" clId="{BFF7D067-EF6C-45E0-A6DE-19D0DA41B8A1}" dt="2026-07-16T06:35:10.814" v="3"/>
          <ac:spMkLst>
            <pc:docMk/>
            <pc:sldMk cId="4249384151" sldId="340"/>
            <ac:spMk id="191" creationId="{3D00A6A6-91EF-ED75-8F37-3C2B47FBDCA3}"/>
          </ac:spMkLst>
        </pc:spChg>
        <pc:spChg chg="mod">
          <ac:chgData name="Chunyen Li (李 俊諺)" userId="40660eec-0f7d-4f76-820a-6b6c2202dd67" providerId="ADAL" clId="{BFF7D067-EF6C-45E0-A6DE-19D0DA41B8A1}" dt="2026-07-16T06:35:10.814" v="3"/>
          <ac:spMkLst>
            <pc:docMk/>
            <pc:sldMk cId="4249384151" sldId="340"/>
            <ac:spMk id="211" creationId="{FCDE126B-7D1B-2150-7B79-197B8ADCF9B0}"/>
          </ac:spMkLst>
        </pc:spChg>
      </pc:sldChg>
      <pc:sldChg chg="modSp modNotes">
        <pc:chgData name="Chunyen Li (李 俊諺)" userId="40660eec-0f7d-4f76-820a-6b6c2202dd67" providerId="ADAL" clId="{BFF7D067-EF6C-45E0-A6DE-19D0DA41B8A1}" dt="2026-07-16T06:35:10.814" v="3"/>
        <pc:sldMkLst>
          <pc:docMk/>
          <pc:sldMk cId="2270966871" sldId="341"/>
        </pc:sldMkLst>
        <pc:spChg chg="mod">
          <ac:chgData name="Chunyen Li (李 俊諺)" userId="40660eec-0f7d-4f76-820a-6b6c2202dd67" providerId="ADAL" clId="{BFF7D067-EF6C-45E0-A6DE-19D0DA41B8A1}" dt="2026-07-16T06:35:10.814" v="3"/>
          <ac:spMkLst>
            <pc:docMk/>
            <pc:sldMk cId="2270966871" sldId="341"/>
            <ac:spMk id="12" creationId="{F9DC762A-EB75-53F5-8B24-709F1201F8E9}"/>
          </ac:spMkLst>
        </pc:spChg>
      </pc:sldChg>
      <pc:sldChg chg="modSp">
        <pc:chgData name="Chunyen Li (李 俊諺)" userId="40660eec-0f7d-4f76-820a-6b6c2202dd67" providerId="ADAL" clId="{BFF7D067-EF6C-45E0-A6DE-19D0DA41B8A1}" dt="2026-07-16T06:35:10.814" v="3"/>
        <pc:sldMkLst>
          <pc:docMk/>
          <pc:sldMk cId="3850938369" sldId="342"/>
        </pc:sldMkLst>
        <pc:spChg chg="mod">
          <ac:chgData name="Chunyen Li (李 俊諺)" userId="40660eec-0f7d-4f76-820a-6b6c2202dd67" providerId="ADAL" clId="{BFF7D067-EF6C-45E0-A6DE-19D0DA41B8A1}" dt="2026-07-16T06:35:10.814" v="3"/>
          <ac:spMkLst>
            <pc:docMk/>
            <pc:sldMk cId="3850938369" sldId="342"/>
            <ac:spMk id="29" creationId="{7394F943-0BEB-F447-483B-1D0F424C0F61}"/>
          </ac:spMkLst>
        </pc:spChg>
        <pc:spChg chg="mod">
          <ac:chgData name="Chunyen Li (李 俊諺)" userId="40660eec-0f7d-4f76-820a-6b6c2202dd67" providerId="ADAL" clId="{BFF7D067-EF6C-45E0-A6DE-19D0DA41B8A1}" dt="2026-07-16T06:35:10.814" v="3"/>
          <ac:spMkLst>
            <pc:docMk/>
            <pc:sldMk cId="3850938369" sldId="342"/>
            <ac:spMk id="38" creationId="{634894C5-19F6-4690-37C6-8155672F998A}"/>
          </ac:spMkLst>
        </pc:spChg>
        <pc:spChg chg="mod">
          <ac:chgData name="Chunyen Li (李 俊諺)" userId="40660eec-0f7d-4f76-820a-6b6c2202dd67" providerId="ADAL" clId="{BFF7D067-EF6C-45E0-A6DE-19D0DA41B8A1}" dt="2026-07-16T06:35:10.814" v="3"/>
          <ac:spMkLst>
            <pc:docMk/>
            <pc:sldMk cId="3850938369" sldId="342"/>
            <ac:spMk id="63" creationId="{4DBCF76E-FC01-5E88-B0C5-DF9615DD004F}"/>
          </ac:spMkLst>
        </pc:spChg>
        <pc:spChg chg="mod">
          <ac:chgData name="Chunyen Li (李 俊諺)" userId="40660eec-0f7d-4f76-820a-6b6c2202dd67" providerId="ADAL" clId="{BFF7D067-EF6C-45E0-A6DE-19D0DA41B8A1}" dt="2026-07-16T06:35:10.814" v="3"/>
          <ac:spMkLst>
            <pc:docMk/>
            <pc:sldMk cId="3850938369" sldId="342"/>
            <ac:spMk id="68" creationId="{C73B1197-9B82-CD36-11CE-6F60BB7EEADF}"/>
          </ac:spMkLst>
        </pc:spChg>
        <pc:spChg chg="mod">
          <ac:chgData name="Chunyen Li (李 俊諺)" userId="40660eec-0f7d-4f76-820a-6b6c2202dd67" providerId="ADAL" clId="{BFF7D067-EF6C-45E0-A6DE-19D0DA41B8A1}" dt="2026-07-16T06:35:10.814" v="3"/>
          <ac:spMkLst>
            <pc:docMk/>
            <pc:sldMk cId="3850938369" sldId="342"/>
            <ac:spMk id="77" creationId="{A12DA0BD-FAA2-4BBC-393F-BDDC68597D90}"/>
          </ac:spMkLst>
        </pc:spChg>
        <pc:spChg chg="mod">
          <ac:chgData name="Chunyen Li (李 俊諺)" userId="40660eec-0f7d-4f76-820a-6b6c2202dd67" providerId="ADAL" clId="{BFF7D067-EF6C-45E0-A6DE-19D0DA41B8A1}" dt="2026-07-16T06:35:10.814" v="3"/>
          <ac:spMkLst>
            <pc:docMk/>
            <pc:sldMk cId="3850938369" sldId="342"/>
            <ac:spMk id="81" creationId="{C413D323-186C-45F3-3D8E-162A5E9521B8}"/>
          </ac:spMkLst>
        </pc:spChg>
        <pc:spChg chg="mod">
          <ac:chgData name="Chunyen Li (李 俊諺)" userId="40660eec-0f7d-4f76-820a-6b6c2202dd67" providerId="ADAL" clId="{BFF7D067-EF6C-45E0-A6DE-19D0DA41B8A1}" dt="2026-07-16T06:35:10.814" v="3"/>
          <ac:spMkLst>
            <pc:docMk/>
            <pc:sldMk cId="3850938369" sldId="342"/>
            <ac:spMk id="89" creationId="{8545105E-3D0B-9379-44B3-2F56146E95A1}"/>
          </ac:spMkLst>
        </pc:spChg>
        <pc:spChg chg="mod">
          <ac:chgData name="Chunyen Li (李 俊諺)" userId="40660eec-0f7d-4f76-820a-6b6c2202dd67" providerId="ADAL" clId="{BFF7D067-EF6C-45E0-A6DE-19D0DA41B8A1}" dt="2026-07-16T06:35:10.814" v="3"/>
          <ac:spMkLst>
            <pc:docMk/>
            <pc:sldMk cId="3850938369" sldId="342"/>
            <ac:spMk id="96" creationId="{C7EF2324-A54F-D89B-5CB0-228E8124B847}"/>
          </ac:spMkLst>
        </pc:spChg>
        <pc:spChg chg="mod">
          <ac:chgData name="Chunyen Li (李 俊諺)" userId="40660eec-0f7d-4f76-820a-6b6c2202dd67" providerId="ADAL" clId="{BFF7D067-EF6C-45E0-A6DE-19D0DA41B8A1}" dt="2026-07-16T06:35:10.814" v="3"/>
          <ac:spMkLst>
            <pc:docMk/>
            <pc:sldMk cId="3850938369" sldId="342"/>
            <ac:spMk id="100" creationId="{3FD61205-B8C0-745B-F893-5477C1634272}"/>
          </ac:spMkLst>
        </pc:spChg>
        <pc:spChg chg="mod">
          <ac:chgData name="Chunyen Li (李 俊諺)" userId="40660eec-0f7d-4f76-820a-6b6c2202dd67" providerId="ADAL" clId="{BFF7D067-EF6C-45E0-A6DE-19D0DA41B8A1}" dt="2026-07-16T06:35:10.814" v="3"/>
          <ac:spMkLst>
            <pc:docMk/>
            <pc:sldMk cId="3850938369" sldId="342"/>
            <ac:spMk id="101" creationId="{24675910-5760-F21B-F275-8FD788388046}"/>
          </ac:spMkLst>
        </pc:spChg>
      </pc:sldChg>
      <pc:sldChg chg="modSp modNotes">
        <pc:chgData name="Chunyen Li (李 俊諺)" userId="40660eec-0f7d-4f76-820a-6b6c2202dd67" providerId="ADAL" clId="{BFF7D067-EF6C-45E0-A6DE-19D0DA41B8A1}" dt="2026-07-16T06:35:10.814" v="3"/>
        <pc:sldMkLst>
          <pc:docMk/>
          <pc:sldMk cId="27711677" sldId="349"/>
        </pc:sldMkLst>
        <pc:spChg chg="mod">
          <ac:chgData name="Chunyen Li (李 俊諺)" userId="40660eec-0f7d-4f76-820a-6b6c2202dd67" providerId="ADAL" clId="{BFF7D067-EF6C-45E0-A6DE-19D0DA41B8A1}" dt="2026-07-16T06:35:10.814" v="3"/>
          <ac:spMkLst>
            <pc:docMk/>
            <pc:sldMk cId="27711677" sldId="349"/>
            <ac:spMk id="7" creationId="{BCD59963-620D-3D6D-997A-B5E4B4C43688}"/>
          </ac:spMkLst>
        </pc:spChg>
        <pc:spChg chg="mod">
          <ac:chgData name="Chunyen Li (李 俊諺)" userId="40660eec-0f7d-4f76-820a-6b6c2202dd67" providerId="ADAL" clId="{BFF7D067-EF6C-45E0-A6DE-19D0DA41B8A1}" dt="2026-07-16T06:35:10.814" v="3"/>
          <ac:spMkLst>
            <pc:docMk/>
            <pc:sldMk cId="27711677" sldId="349"/>
            <ac:spMk id="18" creationId="{482BBEA9-B93B-02B8-CB45-D65C5418A3D8}"/>
          </ac:spMkLst>
        </pc:spChg>
        <pc:spChg chg="mod">
          <ac:chgData name="Chunyen Li (李 俊諺)" userId="40660eec-0f7d-4f76-820a-6b6c2202dd67" providerId="ADAL" clId="{BFF7D067-EF6C-45E0-A6DE-19D0DA41B8A1}" dt="2026-07-16T06:35:10.814" v="3"/>
          <ac:spMkLst>
            <pc:docMk/>
            <pc:sldMk cId="27711677" sldId="349"/>
            <ac:spMk id="19" creationId="{0F3CC360-7C3B-8F99-0A9B-135B69FBB6EF}"/>
          </ac:spMkLst>
        </pc:spChg>
        <pc:spChg chg="mod">
          <ac:chgData name="Chunyen Li (李 俊諺)" userId="40660eec-0f7d-4f76-820a-6b6c2202dd67" providerId="ADAL" clId="{BFF7D067-EF6C-45E0-A6DE-19D0DA41B8A1}" dt="2026-07-16T06:35:10.814" v="3"/>
          <ac:spMkLst>
            <pc:docMk/>
            <pc:sldMk cId="27711677" sldId="349"/>
            <ac:spMk id="20" creationId="{6F6522DF-1A26-5035-7E0B-61D11DEECB97}"/>
          </ac:spMkLst>
        </pc:spChg>
        <pc:spChg chg="mod">
          <ac:chgData name="Chunyen Li (李 俊諺)" userId="40660eec-0f7d-4f76-820a-6b6c2202dd67" providerId="ADAL" clId="{BFF7D067-EF6C-45E0-A6DE-19D0DA41B8A1}" dt="2026-07-16T06:35:10.814" v="3"/>
          <ac:spMkLst>
            <pc:docMk/>
            <pc:sldMk cId="27711677" sldId="349"/>
            <ac:spMk id="21" creationId="{7FB8FD0A-6690-09F7-7429-0CF66000D3D3}"/>
          </ac:spMkLst>
        </pc:spChg>
        <pc:spChg chg="mod">
          <ac:chgData name="Chunyen Li (李 俊諺)" userId="40660eec-0f7d-4f76-820a-6b6c2202dd67" providerId="ADAL" clId="{BFF7D067-EF6C-45E0-A6DE-19D0DA41B8A1}" dt="2026-07-16T06:35:10.814" v="3"/>
          <ac:spMkLst>
            <pc:docMk/>
            <pc:sldMk cId="27711677" sldId="349"/>
            <ac:spMk id="24" creationId="{82D01E2F-E1E1-A8F4-3BDA-41A1674FE978}"/>
          </ac:spMkLst>
        </pc:spChg>
        <pc:spChg chg="mod">
          <ac:chgData name="Chunyen Li (李 俊諺)" userId="40660eec-0f7d-4f76-820a-6b6c2202dd67" providerId="ADAL" clId="{BFF7D067-EF6C-45E0-A6DE-19D0DA41B8A1}" dt="2026-07-16T06:35:10.814" v="3"/>
          <ac:spMkLst>
            <pc:docMk/>
            <pc:sldMk cId="27711677" sldId="349"/>
            <ac:spMk id="26" creationId="{440D263D-5DE4-CAFA-6433-B9D98A3A0EFD}"/>
          </ac:spMkLst>
        </pc:spChg>
        <pc:spChg chg="mod">
          <ac:chgData name="Chunyen Li (李 俊諺)" userId="40660eec-0f7d-4f76-820a-6b6c2202dd67" providerId="ADAL" clId="{BFF7D067-EF6C-45E0-A6DE-19D0DA41B8A1}" dt="2026-07-16T06:35:10.814" v="3"/>
          <ac:spMkLst>
            <pc:docMk/>
            <pc:sldMk cId="27711677" sldId="349"/>
            <ac:spMk id="27" creationId="{4F267163-484C-46DD-A0E2-D7EEF68EE110}"/>
          </ac:spMkLst>
        </pc:spChg>
        <pc:spChg chg="mod">
          <ac:chgData name="Chunyen Li (李 俊諺)" userId="40660eec-0f7d-4f76-820a-6b6c2202dd67" providerId="ADAL" clId="{BFF7D067-EF6C-45E0-A6DE-19D0DA41B8A1}" dt="2026-07-16T06:35:10.814" v="3"/>
          <ac:spMkLst>
            <pc:docMk/>
            <pc:sldMk cId="27711677" sldId="349"/>
            <ac:spMk id="29" creationId="{9FEE2E5D-1A68-FB74-F606-02CE57529D29}"/>
          </ac:spMkLst>
        </pc:spChg>
        <pc:spChg chg="mod">
          <ac:chgData name="Chunyen Li (李 俊諺)" userId="40660eec-0f7d-4f76-820a-6b6c2202dd67" providerId="ADAL" clId="{BFF7D067-EF6C-45E0-A6DE-19D0DA41B8A1}" dt="2026-07-16T06:35:10.814" v="3"/>
          <ac:spMkLst>
            <pc:docMk/>
            <pc:sldMk cId="27711677" sldId="349"/>
            <ac:spMk id="32" creationId="{BF627E5C-C57C-AAA7-FB49-DDDE14B221CE}"/>
          </ac:spMkLst>
        </pc:spChg>
      </pc:sldChg>
      <pc:sldChg chg="modSp modNotes">
        <pc:chgData name="Chunyen Li (李 俊諺)" userId="40660eec-0f7d-4f76-820a-6b6c2202dd67" providerId="ADAL" clId="{BFF7D067-EF6C-45E0-A6DE-19D0DA41B8A1}" dt="2026-07-16T06:35:10.814" v="3"/>
        <pc:sldMkLst>
          <pc:docMk/>
          <pc:sldMk cId="345327915" sldId="350"/>
        </pc:sldMkLst>
        <pc:spChg chg="mod">
          <ac:chgData name="Chunyen Li (李 俊諺)" userId="40660eec-0f7d-4f76-820a-6b6c2202dd67" providerId="ADAL" clId="{BFF7D067-EF6C-45E0-A6DE-19D0DA41B8A1}" dt="2026-07-16T06:35:10.814" v="3"/>
          <ac:spMkLst>
            <pc:docMk/>
            <pc:sldMk cId="345327915" sldId="350"/>
            <ac:spMk id="11" creationId="{4BDE4708-5214-0098-8060-7D098A259866}"/>
          </ac:spMkLst>
        </pc:spChg>
        <pc:spChg chg="mod">
          <ac:chgData name="Chunyen Li (李 俊諺)" userId="40660eec-0f7d-4f76-820a-6b6c2202dd67" providerId="ADAL" clId="{BFF7D067-EF6C-45E0-A6DE-19D0DA41B8A1}" dt="2026-07-16T06:35:10.814" v="3"/>
          <ac:spMkLst>
            <pc:docMk/>
            <pc:sldMk cId="345327915" sldId="350"/>
            <ac:spMk id="45" creationId="{769DEA02-34A5-7FF9-C37C-31D49AEDC69A}"/>
          </ac:spMkLst>
        </pc:spChg>
        <pc:spChg chg="mod">
          <ac:chgData name="Chunyen Li (李 俊諺)" userId="40660eec-0f7d-4f76-820a-6b6c2202dd67" providerId="ADAL" clId="{BFF7D067-EF6C-45E0-A6DE-19D0DA41B8A1}" dt="2026-07-16T06:35:10.814" v="3"/>
          <ac:spMkLst>
            <pc:docMk/>
            <pc:sldMk cId="345327915" sldId="350"/>
            <ac:spMk id="47" creationId="{D5BC6935-3A70-05CF-863D-837C9A058495}"/>
          </ac:spMkLst>
        </pc:spChg>
        <pc:spChg chg="mod">
          <ac:chgData name="Chunyen Li (李 俊諺)" userId="40660eec-0f7d-4f76-820a-6b6c2202dd67" providerId="ADAL" clId="{BFF7D067-EF6C-45E0-A6DE-19D0DA41B8A1}" dt="2026-07-16T06:35:10.814" v="3"/>
          <ac:spMkLst>
            <pc:docMk/>
            <pc:sldMk cId="345327915" sldId="350"/>
            <ac:spMk id="49" creationId="{74973E9A-B480-E68F-674E-0E96CFB7B1F3}"/>
          </ac:spMkLst>
        </pc:spChg>
        <pc:spChg chg="mod">
          <ac:chgData name="Chunyen Li (李 俊諺)" userId="40660eec-0f7d-4f76-820a-6b6c2202dd67" providerId="ADAL" clId="{BFF7D067-EF6C-45E0-A6DE-19D0DA41B8A1}" dt="2026-07-16T06:35:10.814" v="3"/>
          <ac:spMkLst>
            <pc:docMk/>
            <pc:sldMk cId="345327915" sldId="350"/>
            <ac:spMk id="50" creationId="{37C978D8-E6D8-EBCC-744F-EE2D5E71D81E}"/>
          </ac:spMkLst>
        </pc:spChg>
        <pc:spChg chg="mod">
          <ac:chgData name="Chunyen Li (李 俊諺)" userId="40660eec-0f7d-4f76-820a-6b6c2202dd67" providerId="ADAL" clId="{BFF7D067-EF6C-45E0-A6DE-19D0DA41B8A1}" dt="2026-07-16T06:35:10.814" v="3"/>
          <ac:spMkLst>
            <pc:docMk/>
            <pc:sldMk cId="345327915" sldId="350"/>
            <ac:spMk id="52" creationId="{3C223028-597C-6B1C-B2F8-C310443D5CAE}"/>
          </ac:spMkLst>
        </pc:spChg>
        <pc:spChg chg="mod">
          <ac:chgData name="Chunyen Li (李 俊諺)" userId="40660eec-0f7d-4f76-820a-6b6c2202dd67" providerId="ADAL" clId="{BFF7D067-EF6C-45E0-A6DE-19D0DA41B8A1}" dt="2026-07-16T06:35:09.743" v="2"/>
          <ac:spMkLst>
            <pc:docMk/>
            <pc:sldMk cId="345327915" sldId="350"/>
            <ac:spMk id="54" creationId="{FCE0F6B6-3DBA-86BC-864A-DCBAD7BDDB31}"/>
          </ac:spMkLst>
        </pc:spChg>
        <pc:spChg chg="mod">
          <ac:chgData name="Chunyen Li (李 俊諺)" userId="40660eec-0f7d-4f76-820a-6b6c2202dd67" providerId="ADAL" clId="{BFF7D067-EF6C-45E0-A6DE-19D0DA41B8A1}" dt="2026-07-16T06:35:10.814" v="3"/>
          <ac:spMkLst>
            <pc:docMk/>
            <pc:sldMk cId="345327915" sldId="350"/>
            <ac:spMk id="56" creationId="{129E50E8-DC0E-71B2-5D37-86E6A8401479}"/>
          </ac:spMkLst>
        </pc:spChg>
        <pc:spChg chg="mod">
          <ac:chgData name="Chunyen Li (李 俊諺)" userId="40660eec-0f7d-4f76-820a-6b6c2202dd67" providerId="ADAL" clId="{BFF7D067-EF6C-45E0-A6DE-19D0DA41B8A1}" dt="2026-07-16T06:35:09.743" v="2"/>
          <ac:spMkLst>
            <pc:docMk/>
            <pc:sldMk cId="345327915" sldId="350"/>
            <ac:spMk id="58" creationId="{2BCDF420-60CE-879A-34E7-511879D85F77}"/>
          </ac:spMkLst>
        </pc:spChg>
        <pc:spChg chg="mod">
          <ac:chgData name="Chunyen Li (李 俊諺)" userId="40660eec-0f7d-4f76-820a-6b6c2202dd67" providerId="ADAL" clId="{BFF7D067-EF6C-45E0-A6DE-19D0DA41B8A1}" dt="2026-07-16T06:35:10.814" v="3"/>
          <ac:spMkLst>
            <pc:docMk/>
            <pc:sldMk cId="345327915" sldId="350"/>
            <ac:spMk id="59" creationId="{083FA1A9-EB01-58C7-8F33-CB787628EE2F}"/>
          </ac:spMkLst>
        </pc:spChg>
        <pc:spChg chg="mod">
          <ac:chgData name="Chunyen Li (李 俊諺)" userId="40660eec-0f7d-4f76-820a-6b6c2202dd67" providerId="ADAL" clId="{BFF7D067-EF6C-45E0-A6DE-19D0DA41B8A1}" dt="2026-07-16T06:35:09.743" v="2"/>
          <ac:spMkLst>
            <pc:docMk/>
            <pc:sldMk cId="345327915" sldId="350"/>
            <ac:spMk id="70" creationId="{DD44295A-E849-092E-8136-944A0B4C6136}"/>
          </ac:spMkLst>
        </pc:spChg>
        <pc:spChg chg="mod">
          <ac:chgData name="Chunyen Li (李 俊諺)" userId="40660eec-0f7d-4f76-820a-6b6c2202dd67" providerId="ADAL" clId="{BFF7D067-EF6C-45E0-A6DE-19D0DA41B8A1}" dt="2026-07-16T06:35:10.814" v="3"/>
          <ac:spMkLst>
            <pc:docMk/>
            <pc:sldMk cId="345327915" sldId="350"/>
            <ac:spMk id="71" creationId="{CDB77758-F556-88DC-6D26-B1CF9E646F0C}"/>
          </ac:spMkLst>
        </pc:spChg>
        <pc:spChg chg="mod">
          <ac:chgData name="Chunyen Li (李 俊諺)" userId="40660eec-0f7d-4f76-820a-6b6c2202dd67" providerId="ADAL" clId="{BFF7D067-EF6C-45E0-A6DE-19D0DA41B8A1}" dt="2026-07-16T06:35:09.743" v="2"/>
          <ac:spMkLst>
            <pc:docMk/>
            <pc:sldMk cId="345327915" sldId="350"/>
            <ac:spMk id="72" creationId="{3CE29737-52BD-254C-9B53-05BF70FECF8F}"/>
          </ac:spMkLst>
        </pc:spChg>
        <pc:spChg chg="mod">
          <ac:chgData name="Chunyen Li (李 俊諺)" userId="40660eec-0f7d-4f76-820a-6b6c2202dd67" providerId="ADAL" clId="{BFF7D067-EF6C-45E0-A6DE-19D0DA41B8A1}" dt="2026-07-16T06:35:10.814" v="3"/>
          <ac:spMkLst>
            <pc:docMk/>
            <pc:sldMk cId="345327915" sldId="350"/>
            <ac:spMk id="87" creationId="{7DF604F6-8C9B-67B0-4D96-C8C2C9F6F03D}"/>
          </ac:spMkLst>
        </pc:spChg>
      </pc:sldChg>
      <pc:sldChg chg="modSp">
        <pc:chgData name="Chunyen Li (李 俊諺)" userId="40660eec-0f7d-4f76-820a-6b6c2202dd67" providerId="ADAL" clId="{BFF7D067-EF6C-45E0-A6DE-19D0DA41B8A1}" dt="2026-07-16T06:35:10.814" v="3"/>
        <pc:sldMkLst>
          <pc:docMk/>
          <pc:sldMk cId="3903348290" sldId="352"/>
        </pc:sldMkLst>
        <pc:spChg chg="mod">
          <ac:chgData name="Chunyen Li (李 俊諺)" userId="40660eec-0f7d-4f76-820a-6b6c2202dd67" providerId="ADAL" clId="{BFF7D067-EF6C-45E0-A6DE-19D0DA41B8A1}" dt="2026-07-16T06:35:10.814" v="3"/>
          <ac:spMkLst>
            <pc:docMk/>
            <pc:sldMk cId="3903348290" sldId="352"/>
            <ac:spMk id="2" creationId="{432B4497-A0A2-DC8B-7285-0E3F107992C9}"/>
          </ac:spMkLst>
        </pc:spChg>
        <pc:spChg chg="mod">
          <ac:chgData name="Chunyen Li (李 俊諺)" userId="40660eec-0f7d-4f76-820a-6b6c2202dd67" providerId="ADAL" clId="{BFF7D067-EF6C-45E0-A6DE-19D0DA41B8A1}" dt="2026-07-16T06:35:10.814" v="3"/>
          <ac:spMkLst>
            <pc:docMk/>
            <pc:sldMk cId="3903348290" sldId="352"/>
            <ac:spMk id="12" creationId="{D2301670-F855-3C13-50C8-758896957BAF}"/>
          </ac:spMkLst>
        </pc:spChg>
      </pc:sldChg>
      <pc:sldChg chg="modSp">
        <pc:chgData name="Chunyen Li (李 俊諺)" userId="40660eec-0f7d-4f76-820a-6b6c2202dd67" providerId="ADAL" clId="{BFF7D067-EF6C-45E0-A6DE-19D0DA41B8A1}" dt="2026-07-16T06:35:10.814" v="3"/>
        <pc:sldMkLst>
          <pc:docMk/>
          <pc:sldMk cId="901574515" sldId="354"/>
        </pc:sldMkLst>
        <pc:spChg chg="mod">
          <ac:chgData name="Chunyen Li (李 俊諺)" userId="40660eec-0f7d-4f76-820a-6b6c2202dd67" providerId="ADAL" clId="{BFF7D067-EF6C-45E0-A6DE-19D0DA41B8A1}" dt="2026-07-16T06:35:10.814" v="3"/>
          <ac:spMkLst>
            <pc:docMk/>
            <pc:sldMk cId="901574515" sldId="354"/>
            <ac:spMk id="9" creationId="{5AE24513-11E0-2B0C-C93F-9B8AD9CCAFB3}"/>
          </ac:spMkLst>
        </pc:spChg>
        <pc:spChg chg="mod">
          <ac:chgData name="Chunyen Li (李 俊諺)" userId="40660eec-0f7d-4f76-820a-6b6c2202dd67" providerId="ADAL" clId="{BFF7D067-EF6C-45E0-A6DE-19D0DA41B8A1}" dt="2026-07-16T06:35:10.814" v="3"/>
          <ac:spMkLst>
            <pc:docMk/>
            <pc:sldMk cId="901574515" sldId="354"/>
            <ac:spMk id="10" creationId="{D1DFB9F8-F162-5705-4391-1937691C06AE}"/>
          </ac:spMkLst>
        </pc:spChg>
        <pc:spChg chg="mod">
          <ac:chgData name="Chunyen Li (李 俊諺)" userId="40660eec-0f7d-4f76-820a-6b6c2202dd67" providerId="ADAL" clId="{BFF7D067-EF6C-45E0-A6DE-19D0DA41B8A1}" dt="2026-07-16T06:35:10.814" v="3"/>
          <ac:spMkLst>
            <pc:docMk/>
            <pc:sldMk cId="901574515" sldId="354"/>
            <ac:spMk id="11" creationId="{3289A422-6CFC-C6C1-FB42-623BA573C801}"/>
          </ac:spMkLst>
        </pc:spChg>
        <pc:spChg chg="mod">
          <ac:chgData name="Chunyen Li (李 俊諺)" userId="40660eec-0f7d-4f76-820a-6b6c2202dd67" providerId="ADAL" clId="{BFF7D067-EF6C-45E0-A6DE-19D0DA41B8A1}" dt="2026-07-16T06:35:10.814" v="3"/>
          <ac:spMkLst>
            <pc:docMk/>
            <pc:sldMk cId="901574515" sldId="354"/>
            <ac:spMk id="12" creationId="{395D3A54-5CEE-5F24-D490-ADB9F1B5BA28}"/>
          </ac:spMkLst>
        </pc:spChg>
        <pc:spChg chg="mod">
          <ac:chgData name="Chunyen Li (李 俊諺)" userId="40660eec-0f7d-4f76-820a-6b6c2202dd67" providerId="ADAL" clId="{BFF7D067-EF6C-45E0-A6DE-19D0DA41B8A1}" dt="2026-07-16T06:35:10.814" v="3"/>
          <ac:spMkLst>
            <pc:docMk/>
            <pc:sldMk cId="901574515" sldId="354"/>
            <ac:spMk id="13" creationId="{14E82395-239F-80E8-4C83-29D594CCE84D}"/>
          </ac:spMkLst>
        </pc:spChg>
        <pc:spChg chg="mod">
          <ac:chgData name="Chunyen Li (李 俊諺)" userId="40660eec-0f7d-4f76-820a-6b6c2202dd67" providerId="ADAL" clId="{BFF7D067-EF6C-45E0-A6DE-19D0DA41B8A1}" dt="2026-07-16T06:35:10.814" v="3"/>
          <ac:spMkLst>
            <pc:docMk/>
            <pc:sldMk cId="901574515" sldId="354"/>
            <ac:spMk id="14" creationId="{104E4ED7-0392-6C81-D786-525DCD32C1B5}"/>
          </ac:spMkLst>
        </pc:spChg>
        <pc:spChg chg="mod">
          <ac:chgData name="Chunyen Li (李 俊諺)" userId="40660eec-0f7d-4f76-820a-6b6c2202dd67" providerId="ADAL" clId="{BFF7D067-EF6C-45E0-A6DE-19D0DA41B8A1}" dt="2026-07-16T06:35:10.814" v="3"/>
          <ac:spMkLst>
            <pc:docMk/>
            <pc:sldMk cId="901574515" sldId="354"/>
            <ac:spMk id="16" creationId="{A8669F93-C076-5328-4427-574502E9A290}"/>
          </ac:spMkLst>
        </pc:spChg>
        <pc:spChg chg="mod">
          <ac:chgData name="Chunyen Li (李 俊諺)" userId="40660eec-0f7d-4f76-820a-6b6c2202dd67" providerId="ADAL" clId="{BFF7D067-EF6C-45E0-A6DE-19D0DA41B8A1}" dt="2026-07-16T06:35:10.814" v="3"/>
          <ac:spMkLst>
            <pc:docMk/>
            <pc:sldMk cId="901574515" sldId="354"/>
            <ac:spMk id="17" creationId="{090FBEA2-7CD5-8447-F508-FE0E90E612BF}"/>
          </ac:spMkLst>
        </pc:spChg>
        <pc:spChg chg="mod">
          <ac:chgData name="Chunyen Li (李 俊諺)" userId="40660eec-0f7d-4f76-820a-6b6c2202dd67" providerId="ADAL" clId="{BFF7D067-EF6C-45E0-A6DE-19D0DA41B8A1}" dt="2026-07-16T06:35:10.814" v="3"/>
          <ac:spMkLst>
            <pc:docMk/>
            <pc:sldMk cId="901574515" sldId="354"/>
            <ac:spMk id="20" creationId="{B5D24812-69A9-7634-540E-FEE60EFF59DA}"/>
          </ac:spMkLst>
        </pc:spChg>
        <pc:spChg chg="mod">
          <ac:chgData name="Chunyen Li (李 俊諺)" userId="40660eec-0f7d-4f76-820a-6b6c2202dd67" providerId="ADAL" clId="{BFF7D067-EF6C-45E0-A6DE-19D0DA41B8A1}" dt="2026-07-16T06:35:10.814" v="3"/>
          <ac:spMkLst>
            <pc:docMk/>
            <pc:sldMk cId="901574515" sldId="354"/>
            <ac:spMk id="23" creationId="{4F88D36D-F4BD-096E-AAA9-9EA447796F04}"/>
          </ac:spMkLst>
        </pc:spChg>
      </pc:sldChg>
      <pc:sldChg chg="modSp">
        <pc:chgData name="Chunyen Li (李 俊諺)" userId="40660eec-0f7d-4f76-820a-6b6c2202dd67" providerId="ADAL" clId="{BFF7D067-EF6C-45E0-A6DE-19D0DA41B8A1}" dt="2026-07-16T06:35:10.814" v="3"/>
        <pc:sldMkLst>
          <pc:docMk/>
          <pc:sldMk cId="3022361204" sldId="355"/>
        </pc:sldMkLst>
        <pc:spChg chg="mod">
          <ac:chgData name="Chunyen Li (李 俊諺)" userId="40660eec-0f7d-4f76-820a-6b6c2202dd67" providerId="ADAL" clId="{BFF7D067-EF6C-45E0-A6DE-19D0DA41B8A1}" dt="2026-07-16T06:35:10.814" v="3"/>
          <ac:spMkLst>
            <pc:docMk/>
            <pc:sldMk cId="3022361204" sldId="355"/>
            <ac:spMk id="9" creationId="{0EDA5665-0404-9A01-F041-3F2660F22EEF}"/>
          </ac:spMkLst>
        </pc:spChg>
        <pc:spChg chg="mod">
          <ac:chgData name="Chunyen Li (李 俊諺)" userId="40660eec-0f7d-4f76-820a-6b6c2202dd67" providerId="ADAL" clId="{BFF7D067-EF6C-45E0-A6DE-19D0DA41B8A1}" dt="2026-07-16T06:35:10.814" v="3"/>
          <ac:spMkLst>
            <pc:docMk/>
            <pc:sldMk cId="3022361204" sldId="355"/>
            <ac:spMk id="10" creationId="{A7C8D8D9-FF3D-121F-D710-B5CC7ABA12A4}"/>
          </ac:spMkLst>
        </pc:spChg>
        <pc:spChg chg="mod">
          <ac:chgData name="Chunyen Li (李 俊諺)" userId="40660eec-0f7d-4f76-820a-6b6c2202dd67" providerId="ADAL" clId="{BFF7D067-EF6C-45E0-A6DE-19D0DA41B8A1}" dt="2026-07-16T06:35:10.814" v="3"/>
          <ac:spMkLst>
            <pc:docMk/>
            <pc:sldMk cId="3022361204" sldId="355"/>
            <ac:spMk id="11" creationId="{20D52323-5496-D726-6D30-934A0A6565B3}"/>
          </ac:spMkLst>
        </pc:spChg>
        <pc:spChg chg="mod">
          <ac:chgData name="Chunyen Li (李 俊諺)" userId="40660eec-0f7d-4f76-820a-6b6c2202dd67" providerId="ADAL" clId="{BFF7D067-EF6C-45E0-A6DE-19D0DA41B8A1}" dt="2026-07-16T06:35:10.814" v="3"/>
          <ac:spMkLst>
            <pc:docMk/>
            <pc:sldMk cId="3022361204" sldId="355"/>
            <ac:spMk id="12" creationId="{0766D012-3B24-13BE-CE77-38BB6DBD3590}"/>
          </ac:spMkLst>
        </pc:spChg>
        <pc:spChg chg="mod">
          <ac:chgData name="Chunyen Li (李 俊諺)" userId="40660eec-0f7d-4f76-820a-6b6c2202dd67" providerId="ADAL" clId="{BFF7D067-EF6C-45E0-A6DE-19D0DA41B8A1}" dt="2026-07-16T06:35:10.814" v="3"/>
          <ac:spMkLst>
            <pc:docMk/>
            <pc:sldMk cId="3022361204" sldId="355"/>
            <ac:spMk id="13" creationId="{891A14D4-0203-E766-7ACA-8A547A03DFC8}"/>
          </ac:spMkLst>
        </pc:spChg>
        <pc:spChg chg="mod">
          <ac:chgData name="Chunyen Li (李 俊諺)" userId="40660eec-0f7d-4f76-820a-6b6c2202dd67" providerId="ADAL" clId="{BFF7D067-EF6C-45E0-A6DE-19D0DA41B8A1}" dt="2026-07-16T06:35:10.814" v="3"/>
          <ac:spMkLst>
            <pc:docMk/>
            <pc:sldMk cId="3022361204" sldId="355"/>
            <ac:spMk id="14" creationId="{AFDCE714-8FB8-EF31-4C65-49524EBBA47C}"/>
          </ac:spMkLst>
        </pc:spChg>
        <pc:spChg chg="mod">
          <ac:chgData name="Chunyen Li (李 俊諺)" userId="40660eec-0f7d-4f76-820a-6b6c2202dd67" providerId="ADAL" clId="{BFF7D067-EF6C-45E0-A6DE-19D0DA41B8A1}" dt="2026-07-16T06:35:10.814" v="3"/>
          <ac:spMkLst>
            <pc:docMk/>
            <pc:sldMk cId="3022361204" sldId="355"/>
            <ac:spMk id="15" creationId="{DEBBF05B-D68E-37EF-1758-B472CB87D72B}"/>
          </ac:spMkLst>
        </pc:spChg>
        <pc:spChg chg="mod">
          <ac:chgData name="Chunyen Li (李 俊諺)" userId="40660eec-0f7d-4f76-820a-6b6c2202dd67" providerId="ADAL" clId="{BFF7D067-EF6C-45E0-A6DE-19D0DA41B8A1}" dt="2026-07-16T06:35:10.814" v="3"/>
          <ac:spMkLst>
            <pc:docMk/>
            <pc:sldMk cId="3022361204" sldId="355"/>
            <ac:spMk id="16" creationId="{5B588BF7-62C4-D280-78D6-03B79D415B70}"/>
          </ac:spMkLst>
        </pc:spChg>
        <pc:spChg chg="mod">
          <ac:chgData name="Chunyen Li (李 俊諺)" userId="40660eec-0f7d-4f76-820a-6b6c2202dd67" providerId="ADAL" clId="{BFF7D067-EF6C-45E0-A6DE-19D0DA41B8A1}" dt="2026-07-16T06:35:10.814" v="3"/>
          <ac:spMkLst>
            <pc:docMk/>
            <pc:sldMk cId="3022361204" sldId="355"/>
            <ac:spMk id="21" creationId="{44AEE975-3DD9-5D0C-5864-FE22347E6980}"/>
          </ac:spMkLst>
        </pc:spChg>
        <pc:spChg chg="mod">
          <ac:chgData name="Chunyen Li (李 俊諺)" userId="40660eec-0f7d-4f76-820a-6b6c2202dd67" providerId="ADAL" clId="{BFF7D067-EF6C-45E0-A6DE-19D0DA41B8A1}" dt="2026-07-16T06:35:10.814" v="3"/>
          <ac:spMkLst>
            <pc:docMk/>
            <pc:sldMk cId="3022361204" sldId="355"/>
            <ac:spMk id="24" creationId="{A0360CB9-3619-013F-14F4-F9E82D19C125}"/>
          </ac:spMkLst>
        </pc:spChg>
      </pc:sldChg>
      <pc:sldChg chg="modSp">
        <pc:chgData name="Chunyen Li (李 俊諺)" userId="40660eec-0f7d-4f76-820a-6b6c2202dd67" providerId="ADAL" clId="{BFF7D067-EF6C-45E0-A6DE-19D0DA41B8A1}" dt="2026-07-16T06:35:10.814" v="3"/>
        <pc:sldMkLst>
          <pc:docMk/>
          <pc:sldMk cId="3605323103" sldId="356"/>
        </pc:sldMkLst>
        <pc:spChg chg="mod">
          <ac:chgData name="Chunyen Li (李 俊諺)" userId="40660eec-0f7d-4f76-820a-6b6c2202dd67" providerId="ADAL" clId="{BFF7D067-EF6C-45E0-A6DE-19D0DA41B8A1}" dt="2026-07-16T06:35:10.814" v="3"/>
          <ac:spMkLst>
            <pc:docMk/>
            <pc:sldMk cId="3605323103" sldId="356"/>
            <ac:spMk id="8" creationId="{A2D918E3-9624-26C4-B9AB-C9EED88AC569}"/>
          </ac:spMkLst>
        </pc:spChg>
        <pc:spChg chg="mod">
          <ac:chgData name="Chunyen Li (李 俊諺)" userId="40660eec-0f7d-4f76-820a-6b6c2202dd67" providerId="ADAL" clId="{BFF7D067-EF6C-45E0-A6DE-19D0DA41B8A1}" dt="2026-07-16T06:35:10.814" v="3"/>
          <ac:spMkLst>
            <pc:docMk/>
            <pc:sldMk cId="3605323103" sldId="356"/>
            <ac:spMk id="9" creationId="{9D5B6278-3B7A-CED7-7340-BBA10C982874}"/>
          </ac:spMkLst>
        </pc:spChg>
        <pc:spChg chg="mod">
          <ac:chgData name="Chunyen Li (李 俊諺)" userId="40660eec-0f7d-4f76-820a-6b6c2202dd67" providerId="ADAL" clId="{BFF7D067-EF6C-45E0-A6DE-19D0DA41B8A1}" dt="2026-07-16T06:35:10.814" v="3"/>
          <ac:spMkLst>
            <pc:docMk/>
            <pc:sldMk cId="3605323103" sldId="356"/>
            <ac:spMk id="10" creationId="{3E6E937A-4894-61E5-2E2B-7B45BB0FB0ED}"/>
          </ac:spMkLst>
        </pc:spChg>
      </pc:sldChg>
      <pc:sldChg chg="modSp modNotes">
        <pc:chgData name="Chunyen Li (李 俊諺)" userId="40660eec-0f7d-4f76-820a-6b6c2202dd67" providerId="ADAL" clId="{BFF7D067-EF6C-45E0-A6DE-19D0DA41B8A1}" dt="2026-07-16T06:35:10.814" v="3"/>
        <pc:sldMkLst>
          <pc:docMk/>
          <pc:sldMk cId="1374334928" sldId="358"/>
        </pc:sldMkLst>
        <pc:spChg chg="mod">
          <ac:chgData name="Chunyen Li (李 俊諺)" userId="40660eec-0f7d-4f76-820a-6b6c2202dd67" providerId="ADAL" clId="{BFF7D067-EF6C-45E0-A6DE-19D0DA41B8A1}" dt="2026-07-16T06:35:10.814" v="3"/>
          <ac:spMkLst>
            <pc:docMk/>
            <pc:sldMk cId="1374334928" sldId="358"/>
            <ac:spMk id="34" creationId="{23872F4D-E36F-2B5A-DFC5-F3490B697075}"/>
          </ac:spMkLst>
        </pc:spChg>
        <pc:spChg chg="mod">
          <ac:chgData name="Chunyen Li (李 俊諺)" userId="40660eec-0f7d-4f76-820a-6b6c2202dd67" providerId="ADAL" clId="{BFF7D067-EF6C-45E0-A6DE-19D0DA41B8A1}" dt="2026-07-16T06:35:10.814" v="3"/>
          <ac:spMkLst>
            <pc:docMk/>
            <pc:sldMk cId="1374334928" sldId="358"/>
            <ac:spMk id="53" creationId="{52EFD67F-182C-5DF5-6226-BFEE4F99A304}"/>
          </ac:spMkLst>
        </pc:spChg>
        <pc:spChg chg="mod">
          <ac:chgData name="Chunyen Li (李 俊諺)" userId="40660eec-0f7d-4f76-820a-6b6c2202dd67" providerId="ADAL" clId="{BFF7D067-EF6C-45E0-A6DE-19D0DA41B8A1}" dt="2026-07-16T06:35:10.814" v="3"/>
          <ac:spMkLst>
            <pc:docMk/>
            <pc:sldMk cId="1374334928" sldId="358"/>
            <ac:spMk id="60" creationId="{9749963E-1CC7-EB1E-7177-7212728CAE8A}"/>
          </ac:spMkLst>
        </pc:spChg>
        <pc:spChg chg="mod">
          <ac:chgData name="Chunyen Li (李 俊諺)" userId="40660eec-0f7d-4f76-820a-6b6c2202dd67" providerId="ADAL" clId="{BFF7D067-EF6C-45E0-A6DE-19D0DA41B8A1}" dt="2026-07-16T06:35:10.814" v="3"/>
          <ac:spMkLst>
            <pc:docMk/>
            <pc:sldMk cId="1374334928" sldId="358"/>
            <ac:spMk id="70" creationId="{FA9D56B4-19BD-B9E6-CE68-989EA7D1F679}"/>
          </ac:spMkLst>
        </pc:spChg>
        <pc:spChg chg="mod">
          <ac:chgData name="Chunyen Li (李 俊諺)" userId="40660eec-0f7d-4f76-820a-6b6c2202dd67" providerId="ADAL" clId="{BFF7D067-EF6C-45E0-A6DE-19D0DA41B8A1}" dt="2026-07-16T06:35:10.814" v="3"/>
          <ac:spMkLst>
            <pc:docMk/>
            <pc:sldMk cId="1374334928" sldId="358"/>
            <ac:spMk id="107" creationId="{63BD774C-6DA5-E671-EB04-62E0D9B45D93}"/>
          </ac:spMkLst>
        </pc:spChg>
        <pc:spChg chg="mod">
          <ac:chgData name="Chunyen Li (李 俊諺)" userId="40660eec-0f7d-4f76-820a-6b6c2202dd67" providerId="ADAL" clId="{BFF7D067-EF6C-45E0-A6DE-19D0DA41B8A1}" dt="2026-07-16T06:35:10.814" v="3"/>
          <ac:spMkLst>
            <pc:docMk/>
            <pc:sldMk cId="1374334928" sldId="358"/>
            <ac:spMk id="117" creationId="{1B870C1B-D413-B2E9-A0C9-9D2B8BA81BE2}"/>
          </ac:spMkLst>
        </pc:spChg>
        <pc:spChg chg="mod">
          <ac:chgData name="Chunyen Li (李 俊諺)" userId="40660eec-0f7d-4f76-820a-6b6c2202dd67" providerId="ADAL" clId="{BFF7D067-EF6C-45E0-A6DE-19D0DA41B8A1}" dt="2026-07-16T06:35:10.814" v="3"/>
          <ac:spMkLst>
            <pc:docMk/>
            <pc:sldMk cId="1374334928" sldId="358"/>
            <ac:spMk id="118" creationId="{211D81D5-37D0-E775-0CFF-ECB2AAB90AD7}"/>
          </ac:spMkLst>
        </pc:spChg>
        <pc:spChg chg="mod">
          <ac:chgData name="Chunyen Li (李 俊諺)" userId="40660eec-0f7d-4f76-820a-6b6c2202dd67" providerId="ADAL" clId="{BFF7D067-EF6C-45E0-A6DE-19D0DA41B8A1}" dt="2026-07-16T06:35:10.814" v="3"/>
          <ac:spMkLst>
            <pc:docMk/>
            <pc:sldMk cId="1374334928" sldId="358"/>
            <ac:spMk id="125" creationId="{1B5A5A82-7FEA-C8CC-4C1A-3846C67AC977}"/>
          </ac:spMkLst>
        </pc:spChg>
        <pc:spChg chg="mod">
          <ac:chgData name="Chunyen Li (李 俊諺)" userId="40660eec-0f7d-4f76-820a-6b6c2202dd67" providerId="ADAL" clId="{BFF7D067-EF6C-45E0-A6DE-19D0DA41B8A1}" dt="2026-07-16T06:35:10.814" v="3"/>
          <ac:spMkLst>
            <pc:docMk/>
            <pc:sldMk cId="1374334928" sldId="358"/>
            <ac:spMk id="126" creationId="{8D69E9F5-1A5F-F850-2FC6-03E01A5C22FB}"/>
          </ac:spMkLst>
        </pc:spChg>
        <pc:spChg chg="mod">
          <ac:chgData name="Chunyen Li (李 俊諺)" userId="40660eec-0f7d-4f76-820a-6b6c2202dd67" providerId="ADAL" clId="{BFF7D067-EF6C-45E0-A6DE-19D0DA41B8A1}" dt="2026-07-16T06:35:10.814" v="3"/>
          <ac:spMkLst>
            <pc:docMk/>
            <pc:sldMk cId="1374334928" sldId="358"/>
            <ac:spMk id="127" creationId="{36906C2E-E516-D312-69BA-C588B3E79FB3}"/>
          </ac:spMkLst>
        </pc:spChg>
      </pc:sldChg>
      <pc:sldChg chg="modSp">
        <pc:chgData name="Chunyen Li (李 俊諺)" userId="40660eec-0f7d-4f76-820a-6b6c2202dd67" providerId="ADAL" clId="{BFF7D067-EF6C-45E0-A6DE-19D0DA41B8A1}" dt="2026-07-16T06:35:10.814" v="3"/>
        <pc:sldMkLst>
          <pc:docMk/>
          <pc:sldMk cId="3016261601" sldId="359"/>
        </pc:sldMkLst>
        <pc:spChg chg="mod">
          <ac:chgData name="Chunyen Li (李 俊諺)" userId="40660eec-0f7d-4f76-820a-6b6c2202dd67" providerId="ADAL" clId="{BFF7D067-EF6C-45E0-A6DE-19D0DA41B8A1}" dt="2026-07-16T06:35:10.814" v="3"/>
          <ac:spMkLst>
            <pc:docMk/>
            <pc:sldMk cId="3016261601" sldId="359"/>
            <ac:spMk id="25" creationId="{EFA00CD4-06DF-348E-5DD4-71827CC090C0}"/>
          </ac:spMkLst>
        </pc:spChg>
        <pc:spChg chg="mod">
          <ac:chgData name="Chunyen Li (李 俊諺)" userId="40660eec-0f7d-4f76-820a-6b6c2202dd67" providerId="ADAL" clId="{BFF7D067-EF6C-45E0-A6DE-19D0DA41B8A1}" dt="2026-07-16T06:35:10.814" v="3"/>
          <ac:spMkLst>
            <pc:docMk/>
            <pc:sldMk cId="3016261601" sldId="359"/>
            <ac:spMk id="26" creationId="{B6F43590-7FE6-B557-5C4C-90DF3CA6FFA6}"/>
          </ac:spMkLst>
        </pc:spChg>
        <pc:spChg chg="mod">
          <ac:chgData name="Chunyen Li (李 俊諺)" userId="40660eec-0f7d-4f76-820a-6b6c2202dd67" providerId="ADAL" clId="{BFF7D067-EF6C-45E0-A6DE-19D0DA41B8A1}" dt="2026-07-16T06:35:10.814" v="3"/>
          <ac:spMkLst>
            <pc:docMk/>
            <pc:sldMk cId="3016261601" sldId="359"/>
            <ac:spMk id="27" creationId="{020BB5F9-654E-F8BB-42FC-852C27787C01}"/>
          </ac:spMkLst>
        </pc:spChg>
        <pc:spChg chg="mod">
          <ac:chgData name="Chunyen Li (李 俊諺)" userId="40660eec-0f7d-4f76-820a-6b6c2202dd67" providerId="ADAL" clId="{BFF7D067-EF6C-45E0-A6DE-19D0DA41B8A1}" dt="2026-07-16T06:35:10.814" v="3"/>
          <ac:spMkLst>
            <pc:docMk/>
            <pc:sldMk cId="3016261601" sldId="359"/>
            <ac:spMk id="28" creationId="{BC9144AB-80B1-A62A-D12D-BC83AE3058C9}"/>
          </ac:spMkLst>
        </pc:spChg>
        <pc:spChg chg="mod">
          <ac:chgData name="Chunyen Li (李 俊諺)" userId="40660eec-0f7d-4f76-820a-6b6c2202dd67" providerId="ADAL" clId="{BFF7D067-EF6C-45E0-A6DE-19D0DA41B8A1}" dt="2026-07-16T06:35:10.814" v="3"/>
          <ac:spMkLst>
            <pc:docMk/>
            <pc:sldMk cId="3016261601" sldId="359"/>
            <ac:spMk id="34" creationId="{7FE1E4E2-125C-1FC3-B64F-595F7CB6E29E}"/>
          </ac:spMkLst>
        </pc:spChg>
        <pc:spChg chg="mod">
          <ac:chgData name="Chunyen Li (李 俊諺)" userId="40660eec-0f7d-4f76-820a-6b6c2202dd67" providerId="ADAL" clId="{BFF7D067-EF6C-45E0-A6DE-19D0DA41B8A1}" dt="2026-07-16T06:35:10.814" v="3"/>
          <ac:spMkLst>
            <pc:docMk/>
            <pc:sldMk cId="3016261601" sldId="359"/>
            <ac:spMk id="36" creationId="{61E6025E-978B-663D-C915-8A735EAB81B0}"/>
          </ac:spMkLst>
        </pc:spChg>
        <pc:spChg chg="mod">
          <ac:chgData name="Chunyen Li (李 俊諺)" userId="40660eec-0f7d-4f76-820a-6b6c2202dd67" providerId="ADAL" clId="{BFF7D067-EF6C-45E0-A6DE-19D0DA41B8A1}" dt="2026-07-16T06:35:10.814" v="3"/>
          <ac:spMkLst>
            <pc:docMk/>
            <pc:sldMk cId="3016261601" sldId="359"/>
            <ac:spMk id="38" creationId="{359F257A-1CDC-F979-5041-C8D97D33415F}"/>
          </ac:spMkLst>
        </pc:spChg>
        <pc:spChg chg="mod">
          <ac:chgData name="Chunyen Li (李 俊諺)" userId="40660eec-0f7d-4f76-820a-6b6c2202dd67" providerId="ADAL" clId="{BFF7D067-EF6C-45E0-A6DE-19D0DA41B8A1}" dt="2026-07-16T06:35:10.814" v="3"/>
          <ac:spMkLst>
            <pc:docMk/>
            <pc:sldMk cId="3016261601" sldId="359"/>
            <ac:spMk id="40" creationId="{A90AB80A-5427-41BE-82E6-7B4D5E98A2DE}"/>
          </ac:spMkLst>
        </pc:spChg>
        <pc:spChg chg="mod">
          <ac:chgData name="Chunyen Li (李 俊諺)" userId="40660eec-0f7d-4f76-820a-6b6c2202dd67" providerId="ADAL" clId="{BFF7D067-EF6C-45E0-A6DE-19D0DA41B8A1}" dt="2026-07-16T06:35:10.814" v="3"/>
          <ac:spMkLst>
            <pc:docMk/>
            <pc:sldMk cId="3016261601" sldId="359"/>
            <ac:spMk id="42" creationId="{BA66F6B3-BED6-D708-C176-323D11855FCC}"/>
          </ac:spMkLst>
        </pc:spChg>
        <pc:spChg chg="mod">
          <ac:chgData name="Chunyen Li (李 俊諺)" userId="40660eec-0f7d-4f76-820a-6b6c2202dd67" providerId="ADAL" clId="{BFF7D067-EF6C-45E0-A6DE-19D0DA41B8A1}" dt="2026-07-16T06:35:10.814" v="3"/>
          <ac:spMkLst>
            <pc:docMk/>
            <pc:sldMk cId="3016261601" sldId="359"/>
            <ac:spMk id="62" creationId="{0EBF41B6-0546-DA6F-745D-83C92A54C312}"/>
          </ac:spMkLst>
        </pc:spChg>
      </pc:sldChg>
      <pc:sldChg chg="modSp">
        <pc:chgData name="Chunyen Li (李 俊諺)" userId="40660eec-0f7d-4f76-820a-6b6c2202dd67" providerId="ADAL" clId="{BFF7D067-EF6C-45E0-A6DE-19D0DA41B8A1}" dt="2026-07-16T06:35:10.814" v="3"/>
        <pc:sldMkLst>
          <pc:docMk/>
          <pc:sldMk cId="742749240" sldId="360"/>
        </pc:sldMkLst>
        <pc:spChg chg="mod">
          <ac:chgData name="Chunyen Li (李 俊諺)" userId="40660eec-0f7d-4f76-820a-6b6c2202dd67" providerId="ADAL" clId="{BFF7D067-EF6C-45E0-A6DE-19D0DA41B8A1}" dt="2026-07-16T06:35:10.814" v="3"/>
          <ac:spMkLst>
            <pc:docMk/>
            <pc:sldMk cId="742749240" sldId="360"/>
            <ac:spMk id="10" creationId="{D281944F-B42E-D6A8-7EDC-D24605F1A53C}"/>
          </ac:spMkLst>
        </pc:spChg>
        <pc:picChg chg="mod">
          <ac:chgData name="Chunyen Li (李 俊諺)" userId="40660eec-0f7d-4f76-820a-6b6c2202dd67" providerId="ADAL" clId="{BFF7D067-EF6C-45E0-A6DE-19D0DA41B8A1}" dt="2026-07-16T06:35:10.814" v="3"/>
          <ac:picMkLst>
            <pc:docMk/>
            <pc:sldMk cId="742749240" sldId="360"/>
            <ac:picMk id="8" creationId="{CC4A1922-ECA6-4733-A93A-2D2AF473E5C3}"/>
          </ac:picMkLst>
        </pc:picChg>
        <pc:picChg chg="mod">
          <ac:chgData name="Chunyen Li (李 俊諺)" userId="40660eec-0f7d-4f76-820a-6b6c2202dd67" providerId="ADAL" clId="{BFF7D067-EF6C-45E0-A6DE-19D0DA41B8A1}" dt="2026-07-16T06:35:10.814" v="3"/>
          <ac:picMkLst>
            <pc:docMk/>
            <pc:sldMk cId="742749240" sldId="360"/>
            <ac:picMk id="11" creationId="{80F94A16-B4D2-2E1E-92A7-0C3D298ED836}"/>
          </ac:picMkLst>
        </pc:picChg>
        <pc:picChg chg="mod">
          <ac:chgData name="Chunyen Li (李 俊諺)" userId="40660eec-0f7d-4f76-820a-6b6c2202dd67" providerId="ADAL" clId="{BFF7D067-EF6C-45E0-A6DE-19D0DA41B8A1}" dt="2026-07-16T06:35:10.814" v="3"/>
          <ac:picMkLst>
            <pc:docMk/>
            <pc:sldMk cId="742749240" sldId="360"/>
            <ac:picMk id="12" creationId="{4D3C98C7-5FAA-33EE-77C3-BE5C21CA57B4}"/>
          </ac:picMkLst>
        </pc:picChg>
        <pc:cxnChg chg="mod">
          <ac:chgData name="Chunyen Li (李 俊諺)" userId="40660eec-0f7d-4f76-820a-6b6c2202dd67" providerId="ADAL" clId="{BFF7D067-EF6C-45E0-A6DE-19D0DA41B8A1}" dt="2026-07-16T06:35:10.814" v="3"/>
          <ac:cxnSpMkLst>
            <pc:docMk/>
            <pc:sldMk cId="742749240" sldId="360"/>
            <ac:cxnSpMk id="9" creationId="{0CE7978B-B714-32C4-9F46-681F4E0C7485}"/>
          </ac:cxnSpMkLst>
        </pc:cxnChg>
      </pc:sldChg>
      <pc:sldChg chg="modSp">
        <pc:chgData name="Chunyen Li (李 俊諺)" userId="40660eec-0f7d-4f76-820a-6b6c2202dd67" providerId="ADAL" clId="{BFF7D067-EF6C-45E0-A6DE-19D0DA41B8A1}" dt="2026-07-16T06:35:10.814" v="3"/>
        <pc:sldMkLst>
          <pc:docMk/>
          <pc:sldMk cId="2144724076" sldId="361"/>
        </pc:sldMkLst>
        <pc:spChg chg="mod">
          <ac:chgData name="Chunyen Li (李 俊諺)" userId="40660eec-0f7d-4f76-820a-6b6c2202dd67" providerId="ADAL" clId="{BFF7D067-EF6C-45E0-A6DE-19D0DA41B8A1}" dt="2026-07-16T06:35:10.814" v="3"/>
          <ac:spMkLst>
            <pc:docMk/>
            <pc:sldMk cId="2144724076" sldId="361"/>
            <ac:spMk id="26" creationId="{47AD239E-AD0D-DBF5-B49D-F4C317D94183}"/>
          </ac:spMkLst>
        </pc:spChg>
        <pc:spChg chg="mod">
          <ac:chgData name="Chunyen Li (李 俊諺)" userId="40660eec-0f7d-4f76-820a-6b6c2202dd67" providerId="ADAL" clId="{BFF7D067-EF6C-45E0-A6DE-19D0DA41B8A1}" dt="2026-07-16T06:35:10.814" v="3"/>
          <ac:spMkLst>
            <pc:docMk/>
            <pc:sldMk cId="2144724076" sldId="361"/>
            <ac:spMk id="28" creationId="{98FA43D6-81A6-E9A1-81D9-D87ADBEC7B87}"/>
          </ac:spMkLst>
        </pc:spChg>
        <pc:spChg chg="mod">
          <ac:chgData name="Chunyen Li (李 俊諺)" userId="40660eec-0f7d-4f76-820a-6b6c2202dd67" providerId="ADAL" clId="{BFF7D067-EF6C-45E0-A6DE-19D0DA41B8A1}" dt="2026-07-16T06:35:10.814" v="3"/>
          <ac:spMkLst>
            <pc:docMk/>
            <pc:sldMk cId="2144724076" sldId="361"/>
            <ac:spMk id="29" creationId="{52F883FC-317B-0486-BE8D-1FA38E36778D}"/>
          </ac:spMkLst>
        </pc:spChg>
        <pc:spChg chg="mod">
          <ac:chgData name="Chunyen Li (李 俊諺)" userId="40660eec-0f7d-4f76-820a-6b6c2202dd67" providerId="ADAL" clId="{BFF7D067-EF6C-45E0-A6DE-19D0DA41B8A1}" dt="2026-07-16T06:35:10.814" v="3"/>
          <ac:spMkLst>
            <pc:docMk/>
            <pc:sldMk cId="2144724076" sldId="361"/>
            <ac:spMk id="33" creationId="{21970A76-FCCE-DF86-B72F-47632FCF403B}"/>
          </ac:spMkLst>
        </pc:spChg>
        <pc:spChg chg="mod">
          <ac:chgData name="Chunyen Li (李 俊諺)" userId="40660eec-0f7d-4f76-820a-6b6c2202dd67" providerId="ADAL" clId="{BFF7D067-EF6C-45E0-A6DE-19D0DA41B8A1}" dt="2026-07-16T06:35:10.814" v="3"/>
          <ac:spMkLst>
            <pc:docMk/>
            <pc:sldMk cId="2144724076" sldId="361"/>
            <ac:spMk id="36" creationId="{627978B3-88D9-3E7E-03BB-7F1051A8AC45}"/>
          </ac:spMkLst>
        </pc:spChg>
        <pc:spChg chg="mod">
          <ac:chgData name="Chunyen Li (李 俊諺)" userId="40660eec-0f7d-4f76-820a-6b6c2202dd67" providerId="ADAL" clId="{BFF7D067-EF6C-45E0-A6DE-19D0DA41B8A1}" dt="2026-07-16T06:35:10.814" v="3"/>
          <ac:spMkLst>
            <pc:docMk/>
            <pc:sldMk cId="2144724076" sldId="361"/>
            <ac:spMk id="39" creationId="{231B816F-9368-83B5-BCF6-2FA6B92A8C02}"/>
          </ac:spMkLst>
        </pc:spChg>
        <pc:spChg chg="mod">
          <ac:chgData name="Chunyen Li (李 俊諺)" userId="40660eec-0f7d-4f76-820a-6b6c2202dd67" providerId="ADAL" clId="{BFF7D067-EF6C-45E0-A6DE-19D0DA41B8A1}" dt="2026-07-16T06:35:10.814" v="3"/>
          <ac:spMkLst>
            <pc:docMk/>
            <pc:sldMk cId="2144724076" sldId="361"/>
            <ac:spMk id="42" creationId="{55F1EA70-9BB8-D430-684C-6C9DD6A604EE}"/>
          </ac:spMkLst>
        </pc:spChg>
        <pc:spChg chg="mod">
          <ac:chgData name="Chunyen Li (李 俊諺)" userId="40660eec-0f7d-4f76-820a-6b6c2202dd67" providerId="ADAL" clId="{BFF7D067-EF6C-45E0-A6DE-19D0DA41B8A1}" dt="2026-07-16T06:35:10.814" v="3"/>
          <ac:spMkLst>
            <pc:docMk/>
            <pc:sldMk cId="2144724076" sldId="361"/>
            <ac:spMk id="53" creationId="{E5FACF2B-2EDD-4B68-7B62-7B852251A6A3}"/>
          </ac:spMkLst>
        </pc:spChg>
        <pc:spChg chg="mod">
          <ac:chgData name="Chunyen Li (李 俊諺)" userId="40660eec-0f7d-4f76-820a-6b6c2202dd67" providerId="ADAL" clId="{BFF7D067-EF6C-45E0-A6DE-19D0DA41B8A1}" dt="2026-07-16T06:35:10.814" v="3"/>
          <ac:spMkLst>
            <pc:docMk/>
            <pc:sldMk cId="2144724076" sldId="361"/>
            <ac:spMk id="57" creationId="{F7092643-B274-55D4-4AE1-6F1BD0A89778}"/>
          </ac:spMkLst>
        </pc:spChg>
        <pc:spChg chg="mod">
          <ac:chgData name="Chunyen Li (李 俊諺)" userId="40660eec-0f7d-4f76-820a-6b6c2202dd67" providerId="ADAL" clId="{BFF7D067-EF6C-45E0-A6DE-19D0DA41B8A1}" dt="2026-07-16T06:35:10.814" v="3"/>
          <ac:spMkLst>
            <pc:docMk/>
            <pc:sldMk cId="2144724076" sldId="361"/>
            <ac:spMk id="70" creationId="{29A282C5-BFF6-0977-3047-1DF1280FA409}"/>
          </ac:spMkLst>
        </pc:spChg>
      </pc:sldChg>
      <pc:sldChg chg="modSp">
        <pc:chgData name="Chunyen Li (李 俊諺)" userId="40660eec-0f7d-4f76-820a-6b6c2202dd67" providerId="ADAL" clId="{BFF7D067-EF6C-45E0-A6DE-19D0DA41B8A1}" dt="2026-07-16T06:35:10.814" v="3"/>
        <pc:sldMkLst>
          <pc:docMk/>
          <pc:sldMk cId="3749154006" sldId="362"/>
        </pc:sldMkLst>
        <pc:spChg chg="mod">
          <ac:chgData name="Chunyen Li (李 俊諺)" userId="40660eec-0f7d-4f76-820a-6b6c2202dd67" providerId="ADAL" clId="{BFF7D067-EF6C-45E0-A6DE-19D0DA41B8A1}" dt="2026-07-16T06:35:10.814" v="3"/>
          <ac:spMkLst>
            <pc:docMk/>
            <pc:sldMk cId="3749154006" sldId="362"/>
            <ac:spMk id="5" creationId="{C4213CDD-2EA1-C57B-FEB5-339C4EB4E0E8}"/>
          </ac:spMkLst>
        </pc:spChg>
        <pc:spChg chg="mod">
          <ac:chgData name="Chunyen Li (李 俊諺)" userId="40660eec-0f7d-4f76-820a-6b6c2202dd67" providerId="ADAL" clId="{BFF7D067-EF6C-45E0-A6DE-19D0DA41B8A1}" dt="2026-07-16T06:35:10.814" v="3"/>
          <ac:spMkLst>
            <pc:docMk/>
            <pc:sldMk cId="3749154006" sldId="362"/>
            <ac:spMk id="7" creationId="{D78742D9-5A69-0507-BD3D-8D96A2F34B6B}"/>
          </ac:spMkLst>
        </pc:spChg>
        <pc:spChg chg="mod">
          <ac:chgData name="Chunyen Li (李 俊諺)" userId="40660eec-0f7d-4f76-820a-6b6c2202dd67" providerId="ADAL" clId="{BFF7D067-EF6C-45E0-A6DE-19D0DA41B8A1}" dt="2026-07-16T06:35:10.814" v="3"/>
          <ac:spMkLst>
            <pc:docMk/>
            <pc:sldMk cId="3749154006" sldId="362"/>
            <ac:spMk id="8" creationId="{9796CE44-1305-5242-D0B7-5CDA78DC4EC2}"/>
          </ac:spMkLst>
        </pc:spChg>
        <pc:spChg chg="mod">
          <ac:chgData name="Chunyen Li (李 俊諺)" userId="40660eec-0f7d-4f76-820a-6b6c2202dd67" providerId="ADAL" clId="{BFF7D067-EF6C-45E0-A6DE-19D0DA41B8A1}" dt="2026-07-16T06:35:10.814" v="3"/>
          <ac:spMkLst>
            <pc:docMk/>
            <pc:sldMk cId="3749154006" sldId="362"/>
            <ac:spMk id="9" creationId="{612FAF34-9960-3946-8083-F2F1754D83E9}"/>
          </ac:spMkLst>
        </pc:spChg>
        <pc:spChg chg="mod">
          <ac:chgData name="Chunyen Li (李 俊諺)" userId="40660eec-0f7d-4f76-820a-6b6c2202dd67" providerId="ADAL" clId="{BFF7D067-EF6C-45E0-A6DE-19D0DA41B8A1}" dt="2026-07-16T06:35:10.814" v="3"/>
          <ac:spMkLst>
            <pc:docMk/>
            <pc:sldMk cId="3749154006" sldId="362"/>
            <ac:spMk id="14" creationId="{B9A5C927-3181-4906-ACD0-5BC76A2553FD}"/>
          </ac:spMkLst>
        </pc:spChg>
        <pc:spChg chg="mod">
          <ac:chgData name="Chunyen Li (李 俊諺)" userId="40660eec-0f7d-4f76-820a-6b6c2202dd67" providerId="ADAL" clId="{BFF7D067-EF6C-45E0-A6DE-19D0DA41B8A1}" dt="2026-07-16T06:35:10.814" v="3"/>
          <ac:spMkLst>
            <pc:docMk/>
            <pc:sldMk cId="3749154006" sldId="362"/>
            <ac:spMk id="40" creationId="{A6F5943C-EF68-DB35-3A5D-D4EC531F5E96}"/>
          </ac:spMkLst>
        </pc:spChg>
        <pc:spChg chg="mod">
          <ac:chgData name="Chunyen Li (李 俊諺)" userId="40660eec-0f7d-4f76-820a-6b6c2202dd67" providerId="ADAL" clId="{BFF7D067-EF6C-45E0-A6DE-19D0DA41B8A1}" dt="2026-07-16T06:35:10.814" v="3"/>
          <ac:spMkLst>
            <pc:docMk/>
            <pc:sldMk cId="3749154006" sldId="362"/>
            <ac:spMk id="42" creationId="{6ED52EAA-147D-C058-E9C0-59A5C77D6F61}"/>
          </ac:spMkLst>
        </pc:spChg>
        <pc:spChg chg="mod">
          <ac:chgData name="Chunyen Li (李 俊諺)" userId="40660eec-0f7d-4f76-820a-6b6c2202dd67" providerId="ADAL" clId="{BFF7D067-EF6C-45E0-A6DE-19D0DA41B8A1}" dt="2026-07-16T06:35:10.814" v="3"/>
          <ac:spMkLst>
            <pc:docMk/>
            <pc:sldMk cId="3749154006" sldId="362"/>
            <ac:spMk id="45" creationId="{1FF61BFA-85D9-BF0E-5993-7F5E6E1FE0D3}"/>
          </ac:spMkLst>
        </pc:spChg>
        <pc:spChg chg="mod">
          <ac:chgData name="Chunyen Li (李 俊諺)" userId="40660eec-0f7d-4f76-820a-6b6c2202dd67" providerId="ADAL" clId="{BFF7D067-EF6C-45E0-A6DE-19D0DA41B8A1}" dt="2026-07-16T06:35:10.814" v="3"/>
          <ac:spMkLst>
            <pc:docMk/>
            <pc:sldMk cId="3749154006" sldId="362"/>
            <ac:spMk id="50" creationId="{1ED34F6A-696A-6EA4-462D-CE5F63EA1FE4}"/>
          </ac:spMkLst>
        </pc:spChg>
        <pc:spChg chg="mod">
          <ac:chgData name="Chunyen Li (李 俊諺)" userId="40660eec-0f7d-4f76-820a-6b6c2202dd67" providerId="ADAL" clId="{BFF7D067-EF6C-45E0-A6DE-19D0DA41B8A1}" dt="2026-07-16T06:35:10.814" v="3"/>
          <ac:spMkLst>
            <pc:docMk/>
            <pc:sldMk cId="3749154006" sldId="362"/>
            <ac:spMk id="55" creationId="{BABDAE93-A8BD-D804-F581-0E94A3D2DE15}"/>
          </ac:spMkLst>
        </pc:spChg>
      </pc:sldChg>
      <pc:sldChg chg="modSp">
        <pc:chgData name="Chunyen Li (李 俊諺)" userId="40660eec-0f7d-4f76-820a-6b6c2202dd67" providerId="ADAL" clId="{BFF7D067-EF6C-45E0-A6DE-19D0DA41B8A1}" dt="2026-07-16T06:35:10.814" v="3"/>
        <pc:sldMkLst>
          <pc:docMk/>
          <pc:sldMk cId="1982228642" sldId="363"/>
        </pc:sldMkLst>
        <pc:spChg chg="mod">
          <ac:chgData name="Chunyen Li (李 俊諺)" userId="40660eec-0f7d-4f76-820a-6b6c2202dd67" providerId="ADAL" clId="{BFF7D067-EF6C-45E0-A6DE-19D0DA41B8A1}" dt="2026-07-16T06:35:10.814" v="3"/>
          <ac:spMkLst>
            <pc:docMk/>
            <pc:sldMk cId="1982228642" sldId="363"/>
            <ac:spMk id="7" creationId="{1A2BE161-39C1-0D82-DA59-73CE03BB62F8}"/>
          </ac:spMkLst>
        </pc:spChg>
        <pc:spChg chg="mod">
          <ac:chgData name="Chunyen Li (李 俊諺)" userId="40660eec-0f7d-4f76-820a-6b6c2202dd67" providerId="ADAL" clId="{BFF7D067-EF6C-45E0-A6DE-19D0DA41B8A1}" dt="2026-07-16T06:35:10.814" v="3"/>
          <ac:spMkLst>
            <pc:docMk/>
            <pc:sldMk cId="1982228642" sldId="363"/>
            <ac:spMk id="8" creationId="{D7F9D6D3-713E-E9B6-0163-1019ED246935}"/>
          </ac:spMkLst>
        </pc:spChg>
        <pc:spChg chg="mod">
          <ac:chgData name="Chunyen Li (李 俊諺)" userId="40660eec-0f7d-4f76-820a-6b6c2202dd67" providerId="ADAL" clId="{BFF7D067-EF6C-45E0-A6DE-19D0DA41B8A1}" dt="2026-07-16T06:35:10.814" v="3"/>
          <ac:spMkLst>
            <pc:docMk/>
            <pc:sldMk cId="1982228642" sldId="363"/>
            <ac:spMk id="11" creationId="{7CA82BEE-190C-D5C9-86D6-A8F77271B360}"/>
          </ac:spMkLst>
        </pc:spChg>
        <pc:spChg chg="mod">
          <ac:chgData name="Chunyen Li (李 俊諺)" userId="40660eec-0f7d-4f76-820a-6b6c2202dd67" providerId="ADAL" clId="{BFF7D067-EF6C-45E0-A6DE-19D0DA41B8A1}" dt="2026-07-16T06:35:10.814" v="3"/>
          <ac:spMkLst>
            <pc:docMk/>
            <pc:sldMk cId="1982228642" sldId="363"/>
            <ac:spMk id="25" creationId="{FAFD2562-ABA2-BD47-9CED-255329700BB6}"/>
          </ac:spMkLst>
        </pc:spChg>
        <pc:spChg chg="mod">
          <ac:chgData name="Chunyen Li (李 俊諺)" userId="40660eec-0f7d-4f76-820a-6b6c2202dd67" providerId="ADAL" clId="{BFF7D067-EF6C-45E0-A6DE-19D0DA41B8A1}" dt="2026-07-16T06:35:10.814" v="3"/>
          <ac:spMkLst>
            <pc:docMk/>
            <pc:sldMk cId="1982228642" sldId="363"/>
            <ac:spMk id="31" creationId="{0D8C6A8A-ACFD-89BB-E4B4-F13B97037776}"/>
          </ac:spMkLst>
        </pc:spChg>
        <pc:spChg chg="mod">
          <ac:chgData name="Chunyen Li (李 俊諺)" userId="40660eec-0f7d-4f76-820a-6b6c2202dd67" providerId="ADAL" clId="{BFF7D067-EF6C-45E0-A6DE-19D0DA41B8A1}" dt="2026-07-16T06:35:10.814" v="3"/>
          <ac:spMkLst>
            <pc:docMk/>
            <pc:sldMk cId="1982228642" sldId="363"/>
            <ac:spMk id="43" creationId="{CFFD484E-2007-7646-3BAD-9FDE1F5684F9}"/>
          </ac:spMkLst>
        </pc:spChg>
        <pc:spChg chg="mod">
          <ac:chgData name="Chunyen Li (李 俊諺)" userId="40660eec-0f7d-4f76-820a-6b6c2202dd67" providerId="ADAL" clId="{BFF7D067-EF6C-45E0-A6DE-19D0DA41B8A1}" dt="2026-07-16T06:35:10.814" v="3"/>
          <ac:spMkLst>
            <pc:docMk/>
            <pc:sldMk cId="1982228642" sldId="363"/>
            <ac:spMk id="44" creationId="{4D2A3BAC-49E6-CF45-77D3-9535AEB36BF9}"/>
          </ac:spMkLst>
        </pc:spChg>
        <pc:spChg chg="mod">
          <ac:chgData name="Chunyen Li (李 俊諺)" userId="40660eec-0f7d-4f76-820a-6b6c2202dd67" providerId="ADAL" clId="{BFF7D067-EF6C-45E0-A6DE-19D0DA41B8A1}" dt="2026-07-16T06:35:10.814" v="3"/>
          <ac:spMkLst>
            <pc:docMk/>
            <pc:sldMk cId="1982228642" sldId="363"/>
            <ac:spMk id="49" creationId="{5C5496F4-7DC3-1A9E-1BD3-665055BD302D}"/>
          </ac:spMkLst>
        </pc:spChg>
        <pc:spChg chg="mod">
          <ac:chgData name="Chunyen Li (李 俊諺)" userId="40660eec-0f7d-4f76-820a-6b6c2202dd67" providerId="ADAL" clId="{BFF7D067-EF6C-45E0-A6DE-19D0DA41B8A1}" dt="2026-07-16T06:35:10.814" v="3"/>
          <ac:spMkLst>
            <pc:docMk/>
            <pc:sldMk cId="1982228642" sldId="363"/>
            <ac:spMk id="50" creationId="{9311F494-F693-2071-468B-046109EF04C0}"/>
          </ac:spMkLst>
        </pc:spChg>
        <pc:spChg chg="mod">
          <ac:chgData name="Chunyen Li (李 俊諺)" userId="40660eec-0f7d-4f76-820a-6b6c2202dd67" providerId="ADAL" clId="{BFF7D067-EF6C-45E0-A6DE-19D0DA41B8A1}" dt="2026-07-16T06:35:10.814" v="3"/>
          <ac:spMkLst>
            <pc:docMk/>
            <pc:sldMk cId="1982228642" sldId="363"/>
            <ac:spMk id="51" creationId="{71ADFA8E-C06A-CE4C-63E7-1470BB6E3DDB}"/>
          </ac:spMkLst>
        </pc:spChg>
      </pc:sldChg>
      <pc:sldChg chg="modSp">
        <pc:chgData name="Chunyen Li (李 俊諺)" userId="40660eec-0f7d-4f76-820a-6b6c2202dd67" providerId="ADAL" clId="{BFF7D067-EF6C-45E0-A6DE-19D0DA41B8A1}" dt="2026-07-16T06:35:10.814" v="3"/>
        <pc:sldMkLst>
          <pc:docMk/>
          <pc:sldMk cId="1449597682" sldId="364"/>
        </pc:sldMkLst>
        <pc:spChg chg="mod">
          <ac:chgData name="Chunyen Li (李 俊諺)" userId="40660eec-0f7d-4f76-820a-6b6c2202dd67" providerId="ADAL" clId="{BFF7D067-EF6C-45E0-A6DE-19D0DA41B8A1}" dt="2026-07-16T06:35:10.814" v="3"/>
          <ac:spMkLst>
            <pc:docMk/>
            <pc:sldMk cId="1449597682" sldId="364"/>
            <ac:spMk id="2" creationId="{799493F4-5F0B-DB1A-C1E3-36879EE02DA4}"/>
          </ac:spMkLst>
        </pc:spChg>
        <pc:spChg chg="mod">
          <ac:chgData name="Chunyen Li (李 俊諺)" userId="40660eec-0f7d-4f76-820a-6b6c2202dd67" providerId="ADAL" clId="{BFF7D067-EF6C-45E0-A6DE-19D0DA41B8A1}" dt="2026-07-16T06:35:10.814" v="3"/>
          <ac:spMkLst>
            <pc:docMk/>
            <pc:sldMk cId="1449597682" sldId="364"/>
            <ac:spMk id="12" creationId="{D84A337A-3835-0D14-59C9-7DD6214D138A}"/>
          </ac:spMkLst>
        </pc:spChg>
      </pc:sldChg>
      <pc:sldChg chg="modSp modNotes">
        <pc:chgData name="Chunyen Li (李 俊諺)" userId="40660eec-0f7d-4f76-820a-6b6c2202dd67" providerId="ADAL" clId="{BFF7D067-EF6C-45E0-A6DE-19D0DA41B8A1}" dt="2026-07-16T06:35:10.814" v="3"/>
        <pc:sldMkLst>
          <pc:docMk/>
          <pc:sldMk cId="582702616" sldId="365"/>
        </pc:sldMkLst>
        <pc:spChg chg="mod">
          <ac:chgData name="Chunyen Li (李 俊諺)" userId="40660eec-0f7d-4f76-820a-6b6c2202dd67" providerId="ADAL" clId="{BFF7D067-EF6C-45E0-A6DE-19D0DA41B8A1}" dt="2026-07-16T06:35:10.814" v="3"/>
          <ac:spMkLst>
            <pc:docMk/>
            <pc:sldMk cId="582702616" sldId="365"/>
            <ac:spMk id="5" creationId="{CC31587D-CDDE-4711-C81D-0DA6B2A4085E}"/>
          </ac:spMkLst>
        </pc:spChg>
        <pc:spChg chg="mod">
          <ac:chgData name="Chunyen Li (李 俊諺)" userId="40660eec-0f7d-4f76-820a-6b6c2202dd67" providerId="ADAL" clId="{BFF7D067-EF6C-45E0-A6DE-19D0DA41B8A1}" dt="2026-07-16T06:35:10.814" v="3"/>
          <ac:spMkLst>
            <pc:docMk/>
            <pc:sldMk cId="582702616" sldId="365"/>
            <ac:spMk id="9" creationId="{A46E6AEB-E7B8-2789-E462-A16C8A01B37F}"/>
          </ac:spMkLst>
        </pc:spChg>
        <pc:spChg chg="mod">
          <ac:chgData name="Chunyen Li (李 俊諺)" userId="40660eec-0f7d-4f76-820a-6b6c2202dd67" providerId="ADAL" clId="{BFF7D067-EF6C-45E0-A6DE-19D0DA41B8A1}" dt="2026-07-16T06:35:10.814" v="3"/>
          <ac:spMkLst>
            <pc:docMk/>
            <pc:sldMk cId="582702616" sldId="365"/>
            <ac:spMk id="10" creationId="{6C1B1FB3-23B0-16E7-AE9F-9B818AE2ED27}"/>
          </ac:spMkLst>
        </pc:spChg>
        <pc:spChg chg="mod">
          <ac:chgData name="Chunyen Li (李 俊諺)" userId="40660eec-0f7d-4f76-820a-6b6c2202dd67" providerId="ADAL" clId="{BFF7D067-EF6C-45E0-A6DE-19D0DA41B8A1}" dt="2026-07-16T06:35:10.814" v="3"/>
          <ac:spMkLst>
            <pc:docMk/>
            <pc:sldMk cId="582702616" sldId="365"/>
            <ac:spMk id="222" creationId="{1447CBBD-EA53-675E-8DC1-964CFBF08DB2}"/>
          </ac:spMkLst>
        </pc:spChg>
        <pc:spChg chg="mod">
          <ac:chgData name="Chunyen Li (李 俊諺)" userId="40660eec-0f7d-4f76-820a-6b6c2202dd67" providerId="ADAL" clId="{BFF7D067-EF6C-45E0-A6DE-19D0DA41B8A1}" dt="2026-07-16T06:35:10.814" v="3"/>
          <ac:spMkLst>
            <pc:docMk/>
            <pc:sldMk cId="582702616" sldId="365"/>
            <ac:spMk id="250" creationId="{FDB27ECD-A410-A44D-4C72-586696B33D63}"/>
          </ac:spMkLst>
        </pc:spChg>
        <pc:picChg chg="mod">
          <ac:chgData name="Chunyen Li (李 俊諺)" userId="40660eec-0f7d-4f76-820a-6b6c2202dd67" providerId="ADAL" clId="{BFF7D067-EF6C-45E0-A6DE-19D0DA41B8A1}" dt="2026-07-16T06:35:10.814" v="3"/>
          <ac:picMkLst>
            <pc:docMk/>
            <pc:sldMk cId="582702616" sldId="365"/>
            <ac:picMk id="3" creationId="{07C994E1-51DA-E78B-F19B-EF8AEBB2B5C8}"/>
          </ac:picMkLst>
        </pc:picChg>
        <pc:cxnChg chg="mod">
          <ac:chgData name="Chunyen Li (李 俊諺)" userId="40660eec-0f7d-4f76-820a-6b6c2202dd67" providerId="ADAL" clId="{BFF7D067-EF6C-45E0-A6DE-19D0DA41B8A1}" dt="2026-07-16T06:35:10.814" v="3"/>
          <ac:cxnSpMkLst>
            <pc:docMk/>
            <pc:sldMk cId="582702616" sldId="365"/>
            <ac:cxnSpMk id="7" creationId="{FC70AFDA-F5FF-D00E-B7B1-5920CA41FA16}"/>
          </ac:cxnSpMkLst>
        </pc:cxnChg>
        <pc:cxnChg chg="mod">
          <ac:chgData name="Chunyen Li (李 俊諺)" userId="40660eec-0f7d-4f76-820a-6b6c2202dd67" providerId="ADAL" clId="{BFF7D067-EF6C-45E0-A6DE-19D0DA41B8A1}" dt="2026-07-16T06:35:10.814" v="3"/>
          <ac:cxnSpMkLst>
            <pc:docMk/>
            <pc:sldMk cId="582702616" sldId="365"/>
            <ac:cxnSpMk id="223" creationId="{25242FB1-0264-37A1-90BF-04265B49FE6F}"/>
          </ac:cxnSpMkLst>
        </pc:cxnChg>
      </pc:sldChg>
      <pc:sldChg chg="modSp">
        <pc:chgData name="Chunyen Li (李 俊諺)" userId="40660eec-0f7d-4f76-820a-6b6c2202dd67" providerId="ADAL" clId="{BFF7D067-EF6C-45E0-A6DE-19D0DA41B8A1}" dt="2026-07-16T06:35:10.814" v="3"/>
        <pc:sldMkLst>
          <pc:docMk/>
          <pc:sldMk cId="110804086" sldId="366"/>
        </pc:sldMkLst>
        <pc:spChg chg="mod">
          <ac:chgData name="Chunyen Li (李 俊諺)" userId="40660eec-0f7d-4f76-820a-6b6c2202dd67" providerId="ADAL" clId="{BFF7D067-EF6C-45E0-A6DE-19D0DA41B8A1}" dt="2026-07-16T06:35:10.814" v="3"/>
          <ac:spMkLst>
            <pc:docMk/>
            <pc:sldMk cId="110804086" sldId="366"/>
            <ac:spMk id="6" creationId="{643C78B9-F217-F6B2-B821-8724E3929774}"/>
          </ac:spMkLst>
        </pc:spChg>
        <pc:spChg chg="mod">
          <ac:chgData name="Chunyen Li (李 俊諺)" userId="40660eec-0f7d-4f76-820a-6b6c2202dd67" providerId="ADAL" clId="{BFF7D067-EF6C-45E0-A6DE-19D0DA41B8A1}" dt="2026-07-16T06:35:10.814" v="3"/>
          <ac:spMkLst>
            <pc:docMk/>
            <pc:sldMk cId="110804086" sldId="366"/>
            <ac:spMk id="32" creationId="{FFEA073B-212D-1075-23B5-E43881ECC629}"/>
          </ac:spMkLst>
        </pc:spChg>
        <pc:spChg chg="mod">
          <ac:chgData name="Chunyen Li (李 俊諺)" userId="40660eec-0f7d-4f76-820a-6b6c2202dd67" providerId="ADAL" clId="{BFF7D067-EF6C-45E0-A6DE-19D0DA41B8A1}" dt="2026-07-16T06:35:10.814" v="3"/>
          <ac:spMkLst>
            <pc:docMk/>
            <pc:sldMk cId="110804086" sldId="366"/>
            <ac:spMk id="47" creationId="{C5D461D9-8B97-C447-13EA-53425F02542D}"/>
          </ac:spMkLst>
        </pc:spChg>
        <pc:spChg chg="mod">
          <ac:chgData name="Chunyen Li (李 俊諺)" userId="40660eec-0f7d-4f76-820a-6b6c2202dd67" providerId="ADAL" clId="{BFF7D067-EF6C-45E0-A6DE-19D0DA41B8A1}" dt="2026-07-16T06:35:10.814" v="3"/>
          <ac:spMkLst>
            <pc:docMk/>
            <pc:sldMk cId="110804086" sldId="366"/>
            <ac:spMk id="120" creationId="{E6397144-143C-E2F0-082F-BB5A0E2CE5BE}"/>
          </ac:spMkLst>
        </pc:spChg>
        <pc:spChg chg="mod">
          <ac:chgData name="Chunyen Li (李 俊諺)" userId="40660eec-0f7d-4f76-820a-6b6c2202dd67" providerId="ADAL" clId="{BFF7D067-EF6C-45E0-A6DE-19D0DA41B8A1}" dt="2026-07-16T06:35:10.814" v="3"/>
          <ac:spMkLst>
            <pc:docMk/>
            <pc:sldMk cId="110804086" sldId="366"/>
            <ac:spMk id="130" creationId="{7835788D-B10B-53C2-EE7B-887C3DE4DADC}"/>
          </ac:spMkLst>
        </pc:spChg>
        <pc:spChg chg="mod">
          <ac:chgData name="Chunyen Li (李 俊諺)" userId="40660eec-0f7d-4f76-820a-6b6c2202dd67" providerId="ADAL" clId="{BFF7D067-EF6C-45E0-A6DE-19D0DA41B8A1}" dt="2026-07-16T06:35:10.814" v="3"/>
          <ac:spMkLst>
            <pc:docMk/>
            <pc:sldMk cId="110804086" sldId="366"/>
            <ac:spMk id="139" creationId="{633A2927-B351-9205-4AE6-AC326B305148}"/>
          </ac:spMkLst>
        </pc:spChg>
        <pc:spChg chg="mod">
          <ac:chgData name="Chunyen Li (李 俊諺)" userId="40660eec-0f7d-4f76-820a-6b6c2202dd67" providerId="ADAL" clId="{BFF7D067-EF6C-45E0-A6DE-19D0DA41B8A1}" dt="2026-07-16T06:35:10.814" v="3"/>
          <ac:spMkLst>
            <pc:docMk/>
            <pc:sldMk cId="110804086" sldId="366"/>
            <ac:spMk id="141" creationId="{26583512-4059-30FC-2664-4BA2E091119D}"/>
          </ac:spMkLst>
        </pc:spChg>
        <pc:spChg chg="mod">
          <ac:chgData name="Chunyen Li (李 俊諺)" userId="40660eec-0f7d-4f76-820a-6b6c2202dd67" providerId="ADAL" clId="{BFF7D067-EF6C-45E0-A6DE-19D0DA41B8A1}" dt="2026-07-16T06:35:10.814" v="3"/>
          <ac:spMkLst>
            <pc:docMk/>
            <pc:sldMk cId="110804086" sldId="366"/>
            <ac:spMk id="178" creationId="{ED1E9BFD-3884-316F-EB77-EF549E93646C}"/>
          </ac:spMkLst>
        </pc:spChg>
        <pc:spChg chg="mod">
          <ac:chgData name="Chunyen Li (李 俊諺)" userId="40660eec-0f7d-4f76-820a-6b6c2202dd67" providerId="ADAL" clId="{BFF7D067-EF6C-45E0-A6DE-19D0DA41B8A1}" dt="2026-07-16T06:35:10.814" v="3"/>
          <ac:spMkLst>
            <pc:docMk/>
            <pc:sldMk cId="110804086" sldId="366"/>
            <ac:spMk id="183" creationId="{42F17E58-CAE0-1144-3BBE-CB2D24E132FF}"/>
          </ac:spMkLst>
        </pc:spChg>
        <pc:spChg chg="mod">
          <ac:chgData name="Chunyen Li (李 俊諺)" userId="40660eec-0f7d-4f76-820a-6b6c2202dd67" providerId="ADAL" clId="{BFF7D067-EF6C-45E0-A6DE-19D0DA41B8A1}" dt="2026-07-16T06:35:10.814" v="3"/>
          <ac:spMkLst>
            <pc:docMk/>
            <pc:sldMk cId="110804086" sldId="366"/>
            <ac:spMk id="189" creationId="{20FCEFC6-1B9C-4E57-C74E-3A6D705456B5}"/>
          </ac:spMkLst>
        </pc:spChg>
      </pc:sldChg>
      <pc:sldChg chg="modSp modNotes">
        <pc:chgData name="Chunyen Li (李 俊諺)" userId="40660eec-0f7d-4f76-820a-6b6c2202dd67" providerId="ADAL" clId="{BFF7D067-EF6C-45E0-A6DE-19D0DA41B8A1}" dt="2026-07-16T06:35:10.814" v="3"/>
        <pc:sldMkLst>
          <pc:docMk/>
          <pc:sldMk cId="2125844983" sldId="368"/>
        </pc:sldMkLst>
        <pc:spChg chg="mod">
          <ac:chgData name="Chunyen Li (李 俊諺)" userId="40660eec-0f7d-4f76-820a-6b6c2202dd67" providerId="ADAL" clId="{BFF7D067-EF6C-45E0-A6DE-19D0DA41B8A1}" dt="2026-07-16T06:35:10.814" v="3"/>
          <ac:spMkLst>
            <pc:docMk/>
            <pc:sldMk cId="2125844983" sldId="368"/>
            <ac:spMk id="10" creationId="{C6C8C778-0F64-278E-5C75-CDC6DD612D54}"/>
          </ac:spMkLst>
        </pc:spChg>
        <pc:spChg chg="mod">
          <ac:chgData name="Chunyen Li (李 俊諺)" userId="40660eec-0f7d-4f76-820a-6b6c2202dd67" providerId="ADAL" clId="{BFF7D067-EF6C-45E0-A6DE-19D0DA41B8A1}" dt="2026-07-16T06:35:10.814" v="3"/>
          <ac:spMkLst>
            <pc:docMk/>
            <pc:sldMk cId="2125844983" sldId="368"/>
            <ac:spMk id="195" creationId="{9D9BE530-A22C-F3AE-36F4-DFFA95868F01}"/>
          </ac:spMkLst>
        </pc:spChg>
        <pc:spChg chg="mod">
          <ac:chgData name="Chunyen Li (李 俊諺)" userId="40660eec-0f7d-4f76-820a-6b6c2202dd67" providerId="ADAL" clId="{BFF7D067-EF6C-45E0-A6DE-19D0DA41B8A1}" dt="2026-07-16T06:35:10.814" v="3"/>
          <ac:spMkLst>
            <pc:docMk/>
            <pc:sldMk cId="2125844983" sldId="368"/>
            <ac:spMk id="199" creationId="{51842EF8-46CD-B556-8BBC-074850B77075}"/>
          </ac:spMkLst>
        </pc:spChg>
        <pc:spChg chg="mod">
          <ac:chgData name="Chunyen Li (李 俊諺)" userId="40660eec-0f7d-4f76-820a-6b6c2202dd67" providerId="ADAL" clId="{BFF7D067-EF6C-45E0-A6DE-19D0DA41B8A1}" dt="2026-07-16T06:35:10.814" v="3"/>
          <ac:spMkLst>
            <pc:docMk/>
            <pc:sldMk cId="2125844983" sldId="368"/>
            <ac:spMk id="201" creationId="{4ADABDF5-E046-D63E-807A-70FED4B8320F}"/>
          </ac:spMkLst>
        </pc:spChg>
        <pc:spChg chg="mod">
          <ac:chgData name="Chunyen Li (李 俊諺)" userId="40660eec-0f7d-4f76-820a-6b6c2202dd67" providerId="ADAL" clId="{BFF7D067-EF6C-45E0-A6DE-19D0DA41B8A1}" dt="2026-07-16T06:35:10.814" v="3"/>
          <ac:spMkLst>
            <pc:docMk/>
            <pc:sldMk cId="2125844983" sldId="368"/>
            <ac:spMk id="205" creationId="{119AAEAD-0097-6FBA-029F-09AB3E2F206D}"/>
          </ac:spMkLst>
        </pc:spChg>
        <pc:spChg chg="mod">
          <ac:chgData name="Chunyen Li (李 俊諺)" userId="40660eec-0f7d-4f76-820a-6b6c2202dd67" providerId="ADAL" clId="{BFF7D067-EF6C-45E0-A6DE-19D0DA41B8A1}" dt="2026-07-16T06:35:10.814" v="3"/>
          <ac:spMkLst>
            <pc:docMk/>
            <pc:sldMk cId="2125844983" sldId="368"/>
            <ac:spMk id="206" creationId="{D69687F5-3B34-2C5C-84D3-8C108B96EAFA}"/>
          </ac:spMkLst>
        </pc:spChg>
        <pc:spChg chg="mod">
          <ac:chgData name="Chunyen Li (李 俊諺)" userId="40660eec-0f7d-4f76-820a-6b6c2202dd67" providerId="ADAL" clId="{BFF7D067-EF6C-45E0-A6DE-19D0DA41B8A1}" dt="2026-07-16T06:35:10.814" v="3"/>
          <ac:spMkLst>
            <pc:docMk/>
            <pc:sldMk cId="2125844983" sldId="368"/>
            <ac:spMk id="207" creationId="{31C96FF7-D21F-999C-58DB-E90F630D8188}"/>
          </ac:spMkLst>
        </pc:spChg>
        <pc:spChg chg="mod">
          <ac:chgData name="Chunyen Li (李 俊諺)" userId="40660eec-0f7d-4f76-820a-6b6c2202dd67" providerId="ADAL" clId="{BFF7D067-EF6C-45E0-A6DE-19D0DA41B8A1}" dt="2026-07-16T06:35:10.814" v="3"/>
          <ac:spMkLst>
            <pc:docMk/>
            <pc:sldMk cId="2125844983" sldId="368"/>
            <ac:spMk id="208" creationId="{7BCF99AD-E508-2B04-2199-E307C1BCEB3A}"/>
          </ac:spMkLst>
        </pc:spChg>
        <pc:spChg chg="mod">
          <ac:chgData name="Chunyen Li (李 俊諺)" userId="40660eec-0f7d-4f76-820a-6b6c2202dd67" providerId="ADAL" clId="{BFF7D067-EF6C-45E0-A6DE-19D0DA41B8A1}" dt="2026-07-16T06:35:10.814" v="3"/>
          <ac:spMkLst>
            <pc:docMk/>
            <pc:sldMk cId="2125844983" sldId="368"/>
            <ac:spMk id="222" creationId="{C77F984D-7887-93D4-43EF-64862FF3D9B4}"/>
          </ac:spMkLst>
        </pc:spChg>
        <pc:spChg chg="mod">
          <ac:chgData name="Chunyen Li (李 俊諺)" userId="40660eec-0f7d-4f76-820a-6b6c2202dd67" providerId="ADAL" clId="{BFF7D067-EF6C-45E0-A6DE-19D0DA41B8A1}" dt="2026-07-16T06:35:10.814" v="3"/>
          <ac:spMkLst>
            <pc:docMk/>
            <pc:sldMk cId="2125844983" sldId="368"/>
            <ac:spMk id="227" creationId="{CB43319A-3C48-51FD-8EEF-F25F5C4FF8AC}"/>
          </ac:spMkLst>
        </pc:spChg>
      </pc:sldChg>
      <pc:sldChg chg="modSp">
        <pc:chgData name="Chunyen Li (李 俊諺)" userId="40660eec-0f7d-4f76-820a-6b6c2202dd67" providerId="ADAL" clId="{BFF7D067-EF6C-45E0-A6DE-19D0DA41B8A1}" dt="2026-07-16T06:35:10.814" v="3"/>
        <pc:sldMkLst>
          <pc:docMk/>
          <pc:sldMk cId="1834613122" sldId="369"/>
        </pc:sldMkLst>
        <pc:spChg chg="mod">
          <ac:chgData name="Chunyen Li (李 俊諺)" userId="40660eec-0f7d-4f76-820a-6b6c2202dd67" providerId="ADAL" clId="{BFF7D067-EF6C-45E0-A6DE-19D0DA41B8A1}" dt="2026-07-16T06:35:10.814" v="3"/>
          <ac:spMkLst>
            <pc:docMk/>
            <pc:sldMk cId="1834613122" sldId="369"/>
            <ac:spMk id="11" creationId="{66A75BA7-6510-9839-E45E-3868CF9D48AE}"/>
          </ac:spMkLst>
        </pc:spChg>
        <pc:spChg chg="mod">
          <ac:chgData name="Chunyen Li (李 俊諺)" userId="40660eec-0f7d-4f76-820a-6b6c2202dd67" providerId="ADAL" clId="{BFF7D067-EF6C-45E0-A6DE-19D0DA41B8A1}" dt="2026-07-16T06:35:10.814" v="3"/>
          <ac:spMkLst>
            <pc:docMk/>
            <pc:sldMk cId="1834613122" sldId="369"/>
            <ac:spMk id="12" creationId="{294CAE7A-E759-B3CC-2C4D-B92FCDE0F114}"/>
          </ac:spMkLst>
        </pc:spChg>
        <pc:spChg chg="mod">
          <ac:chgData name="Chunyen Li (李 俊諺)" userId="40660eec-0f7d-4f76-820a-6b6c2202dd67" providerId="ADAL" clId="{BFF7D067-EF6C-45E0-A6DE-19D0DA41B8A1}" dt="2026-07-16T06:35:10.814" v="3"/>
          <ac:spMkLst>
            <pc:docMk/>
            <pc:sldMk cId="1834613122" sldId="369"/>
            <ac:spMk id="22" creationId="{5A7117EC-D044-E3A3-7533-6A5C3D912D41}"/>
          </ac:spMkLst>
        </pc:spChg>
        <pc:spChg chg="mod">
          <ac:chgData name="Chunyen Li (李 俊諺)" userId="40660eec-0f7d-4f76-820a-6b6c2202dd67" providerId="ADAL" clId="{BFF7D067-EF6C-45E0-A6DE-19D0DA41B8A1}" dt="2026-07-16T06:35:10.814" v="3"/>
          <ac:spMkLst>
            <pc:docMk/>
            <pc:sldMk cId="1834613122" sldId="369"/>
            <ac:spMk id="25" creationId="{EF41B4DA-D6E3-C495-7862-4FC0A46E40CC}"/>
          </ac:spMkLst>
        </pc:spChg>
        <pc:spChg chg="mod">
          <ac:chgData name="Chunyen Li (李 俊諺)" userId="40660eec-0f7d-4f76-820a-6b6c2202dd67" providerId="ADAL" clId="{BFF7D067-EF6C-45E0-A6DE-19D0DA41B8A1}" dt="2026-07-16T06:35:10.814" v="3"/>
          <ac:spMkLst>
            <pc:docMk/>
            <pc:sldMk cId="1834613122" sldId="369"/>
            <ac:spMk id="26" creationId="{9575D6E6-84AA-1065-3FBE-578F7906F827}"/>
          </ac:spMkLst>
        </pc:spChg>
        <pc:spChg chg="mod">
          <ac:chgData name="Chunyen Li (李 俊諺)" userId="40660eec-0f7d-4f76-820a-6b6c2202dd67" providerId="ADAL" clId="{BFF7D067-EF6C-45E0-A6DE-19D0DA41B8A1}" dt="2026-07-16T06:35:10.814" v="3"/>
          <ac:spMkLst>
            <pc:docMk/>
            <pc:sldMk cId="1834613122" sldId="369"/>
            <ac:spMk id="32" creationId="{46821096-E1FF-C2CF-69EF-9DA1DA260FA4}"/>
          </ac:spMkLst>
        </pc:spChg>
        <pc:spChg chg="mod">
          <ac:chgData name="Chunyen Li (李 俊諺)" userId="40660eec-0f7d-4f76-820a-6b6c2202dd67" providerId="ADAL" clId="{BFF7D067-EF6C-45E0-A6DE-19D0DA41B8A1}" dt="2026-07-16T06:35:10.814" v="3"/>
          <ac:spMkLst>
            <pc:docMk/>
            <pc:sldMk cId="1834613122" sldId="369"/>
            <ac:spMk id="33" creationId="{F26A5509-2F48-E50A-74C3-8BE27A471041}"/>
          </ac:spMkLst>
        </pc:spChg>
        <pc:spChg chg="mod">
          <ac:chgData name="Chunyen Li (李 俊諺)" userId="40660eec-0f7d-4f76-820a-6b6c2202dd67" providerId="ADAL" clId="{BFF7D067-EF6C-45E0-A6DE-19D0DA41B8A1}" dt="2026-07-16T06:35:10.814" v="3"/>
          <ac:spMkLst>
            <pc:docMk/>
            <pc:sldMk cId="1834613122" sldId="369"/>
            <ac:spMk id="36" creationId="{6AC68B3B-3ADB-7BAD-4263-DA2560021DFF}"/>
          </ac:spMkLst>
        </pc:spChg>
        <pc:spChg chg="mod">
          <ac:chgData name="Chunyen Li (李 俊諺)" userId="40660eec-0f7d-4f76-820a-6b6c2202dd67" providerId="ADAL" clId="{BFF7D067-EF6C-45E0-A6DE-19D0DA41B8A1}" dt="2026-07-16T06:35:10.814" v="3"/>
          <ac:spMkLst>
            <pc:docMk/>
            <pc:sldMk cId="1834613122" sldId="369"/>
            <ac:spMk id="42" creationId="{F6824B3B-4DBA-8E72-0A4D-8578A2AEA4A7}"/>
          </ac:spMkLst>
        </pc:spChg>
        <pc:spChg chg="mod">
          <ac:chgData name="Chunyen Li (李 俊諺)" userId="40660eec-0f7d-4f76-820a-6b6c2202dd67" providerId="ADAL" clId="{BFF7D067-EF6C-45E0-A6DE-19D0DA41B8A1}" dt="2026-07-16T06:35:10.814" v="3"/>
          <ac:spMkLst>
            <pc:docMk/>
            <pc:sldMk cId="1834613122" sldId="369"/>
            <ac:spMk id="44" creationId="{06D17D93-3267-4D22-27EC-8B581EFA9B69}"/>
          </ac:spMkLst>
        </pc:spChg>
      </pc:sldChg>
      <pc:sldChg chg="modSp">
        <pc:chgData name="Chunyen Li (李 俊諺)" userId="40660eec-0f7d-4f76-820a-6b6c2202dd67" providerId="ADAL" clId="{BFF7D067-EF6C-45E0-A6DE-19D0DA41B8A1}" dt="2026-07-16T06:35:10.814" v="3"/>
        <pc:sldMkLst>
          <pc:docMk/>
          <pc:sldMk cId="1576941892" sldId="370"/>
        </pc:sldMkLst>
        <pc:spChg chg="mod">
          <ac:chgData name="Chunyen Li (李 俊諺)" userId="40660eec-0f7d-4f76-820a-6b6c2202dd67" providerId="ADAL" clId="{BFF7D067-EF6C-45E0-A6DE-19D0DA41B8A1}" dt="2026-07-16T06:35:10.814" v="3"/>
          <ac:spMkLst>
            <pc:docMk/>
            <pc:sldMk cId="1576941892" sldId="370"/>
            <ac:spMk id="22" creationId="{F6BEAA68-D4AA-7F64-B6FC-B2A6F2606938}"/>
          </ac:spMkLst>
        </pc:spChg>
        <pc:spChg chg="mod">
          <ac:chgData name="Chunyen Li (李 俊諺)" userId="40660eec-0f7d-4f76-820a-6b6c2202dd67" providerId="ADAL" clId="{BFF7D067-EF6C-45E0-A6DE-19D0DA41B8A1}" dt="2026-07-16T06:35:10.814" v="3"/>
          <ac:spMkLst>
            <pc:docMk/>
            <pc:sldMk cId="1576941892" sldId="370"/>
            <ac:spMk id="23" creationId="{570D05EC-1952-DB6B-3F70-CF08995AF5AA}"/>
          </ac:spMkLst>
        </pc:spChg>
        <pc:spChg chg="mod">
          <ac:chgData name="Chunyen Li (李 俊諺)" userId="40660eec-0f7d-4f76-820a-6b6c2202dd67" providerId="ADAL" clId="{BFF7D067-EF6C-45E0-A6DE-19D0DA41B8A1}" dt="2026-07-16T06:35:10.814" v="3"/>
          <ac:spMkLst>
            <pc:docMk/>
            <pc:sldMk cId="1576941892" sldId="370"/>
            <ac:spMk id="27" creationId="{BCCF7944-C589-65CE-1BA7-3804E4FF385B}"/>
          </ac:spMkLst>
        </pc:spChg>
        <pc:spChg chg="mod">
          <ac:chgData name="Chunyen Li (李 俊諺)" userId="40660eec-0f7d-4f76-820a-6b6c2202dd67" providerId="ADAL" clId="{BFF7D067-EF6C-45E0-A6DE-19D0DA41B8A1}" dt="2026-07-16T06:35:10.814" v="3"/>
          <ac:spMkLst>
            <pc:docMk/>
            <pc:sldMk cId="1576941892" sldId="370"/>
            <ac:spMk id="28" creationId="{74E65C88-9B4D-38F1-3C02-CB66BC69B1FA}"/>
          </ac:spMkLst>
        </pc:spChg>
        <pc:spChg chg="mod">
          <ac:chgData name="Chunyen Li (李 俊諺)" userId="40660eec-0f7d-4f76-820a-6b6c2202dd67" providerId="ADAL" clId="{BFF7D067-EF6C-45E0-A6DE-19D0DA41B8A1}" dt="2026-07-16T06:35:10.814" v="3"/>
          <ac:spMkLst>
            <pc:docMk/>
            <pc:sldMk cId="1576941892" sldId="370"/>
            <ac:spMk id="30" creationId="{D21A02B3-3C48-F1DA-FF23-386739C4F2E6}"/>
          </ac:spMkLst>
        </pc:spChg>
        <pc:spChg chg="mod">
          <ac:chgData name="Chunyen Li (李 俊諺)" userId="40660eec-0f7d-4f76-820a-6b6c2202dd67" providerId="ADAL" clId="{BFF7D067-EF6C-45E0-A6DE-19D0DA41B8A1}" dt="2026-07-16T06:35:10.814" v="3"/>
          <ac:spMkLst>
            <pc:docMk/>
            <pc:sldMk cId="1576941892" sldId="370"/>
            <ac:spMk id="31" creationId="{54E0FC3E-A24B-4CA5-419C-AFA9F3AE1F3A}"/>
          </ac:spMkLst>
        </pc:spChg>
        <pc:spChg chg="mod">
          <ac:chgData name="Chunyen Li (李 俊諺)" userId="40660eec-0f7d-4f76-820a-6b6c2202dd67" providerId="ADAL" clId="{BFF7D067-EF6C-45E0-A6DE-19D0DA41B8A1}" dt="2026-07-16T06:35:10.814" v="3"/>
          <ac:spMkLst>
            <pc:docMk/>
            <pc:sldMk cId="1576941892" sldId="370"/>
            <ac:spMk id="34" creationId="{D6ABE2EE-26A9-E979-45F6-3C0259130CF5}"/>
          </ac:spMkLst>
        </pc:spChg>
        <pc:spChg chg="mod">
          <ac:chgData name="Chunyen Li (李 俊諺)" userId="40660eec-0f7d-4f76-820a-6b6c2202dd67" providerId="ADAL" clId="{BFF7D067-EF6C-45E0-A6DE-19D0DA41B8A1}" dt="2026-07-16T06:35:10.814" v="3"/>
          <ac:spMkLst>
            <pc:docMk/>
            <pc:sldMk cId="1576941892" sldId="370"/>
            <ac:spMk id="35" creationId="{795D7305-3E70-3CFF-79D9-2CF13EFE1D69}"/>
          </ac:spMkLst>
        </pc:spChg>
        <pc:spChg chg="mod">
          <ac:chgData name="Chunyen Li (李 俊諺)" userId="40660eec-0f7d-4f76-820a-6b6c2202dd67" providerId="ADAL" clId="{BFF7D067-EF6C-45E0-A6DE-19D0DA41B8A1}" dt="2026-07-16T06:35:10.814" v="3"/>
          <ac:spMkLst>
            <pc:docMk/>
            <pc:sldMk cId="1576941892" sldId="370"/>
            <ac:spMk id="40" creationId="{04FF1DB0-274E-AA02-C4E8-734AB81954F2}"/>
          </ac:spMkLst>
        </pc:spChg>
        <pc:spChg chg="mod">
          <ac:chgData name="Chunyen Li (李 俊諺)" userId="40660eec-0f7d-4f76-820a-6b6c2202dd67" providerId="ADAL" clId="{BFF7D067-EF6C-45E0-A6DE-19D0DA41B8A1}" dt="2026-07-16T06:35:10.814" v="3"/>
          <ac:spMkLst>
            <pc:docMk/>
            <pc:sldMk cId="1576941892" sldId="370"/>
            <ac:spMk id="42" creationId="{B971338D-BB8B-99C5-01ED-58F712795BC8}"/>
          </ac:spMkLst>
        </pc:spChg>
      </pc:sldChg>
      <pc:sldChg chg="modSp modNotes">
        <pc:chgData name="Chunyen Li (李 俊諺)" userId="40660eec-0f7d-4f76-820a-6b6c2202dd67" providerId="ADAL" clId="{BFF7D067-EF6C-45E0-A6DE-19D0DA41B8A1}" dt="2026-07-16T06:35:10.814" v="3"/>
        <pc:sldMkLst>
          <pc:docMk/>
          <pc:sldMk cId="1549243384" sldId="371"/>
        </pc:sldMkLst>
        <pc:spChg chg="mod">
          <ac:chgData name="Chunyen Li (李 俊諺)" userId="40660eec-0f7d-4f76-820a-6b6c2202dd67" providerId="ADAL" clId="{BFF7D067-EF6C-45E0-A6DE-19D0DA41B8A1}" dt="2026-07-16T06:35:10.814" v="3"/>
          <ac:spMkLst>
            <pc:docMk/>
            <pc:sldMk cId="1549243384" sldId="371"/>
            <ac:spMk id="7" creationId="{53A4DE89-1CAE-989F-2967-699BD8FF8C85}"/>
          </ac:spMkLst>
        </pc:spChg>
        <pc:spChg chg="mod">
          <ac:chgData name="Chunyen Li (李 俊諺)" userId="40660eec-0f7d-4f76-820a-6b6c2202dd67" providerId="ADAL" clId="{BFF7D067-EF6C-45E0-A6DE-19D0DA41B8A1}" dt="2026-07-16T06:35:10.814" v="3"/>
          <ac:spMkLst>
            <pc:docMk/>
            <pc:sldMk cId="1549243384" sldId="371"/>
            <ac:spMk id="25" creationId="{E4418859-C985-A4C7-F6C6-A171876F710F}"/>
          </ac:spMkLst>
        </pc:spChg>
        <pc:spChg chg="mod">
          <ac:chgData name="Chunyen Li (李 俊諺)" userId="40660eec-0f7d-4f76-820a-6b6c2202dd67" providerId="ADAL" clId="{BFF7D067-EF6C-45E0-A6DE-19D0DA41B8A1}" dt="2026-07-16T06:35:10.814" v="3"/>
          <ac:spMkLst>
            <pc:docMk/>
            <pc:sldMk cId="1549243384" sldId="371"/>
            <ac:spMk id="33" creationId="{FA743AD1-275C-C16E-C061-71A60250D2A3}"/>
          </ac:spMkLst>
        </pc:spChg>
        <pc:spChg chg="mod">
          <ac:chgData name="Chunyen Li (李 俊諺)" userId="40660eec-0f7d-4f76-820a-6b6c2202dd67" providerId="ADAL" clId="{BFF7D067-EF6C-45E0-A6DE-19D0DA41B8A1}" dt="2026-07-16T06:35:10.814" v="3"/>
          <ac:spMkLst>
            <pc:docMk/>
            <pc:sldMk cId="1549243384" sldId="371"/>
            <ac:spMk id="38" creationId="{5BC08BB8-4C29-D186-B596-4377BAB0A066}"/>
          </ac:spMkLst>
        </pc:spChg>
        <pc:spChg chg="mod">
          <ac:chgData name="Chunyen Li (李 俊諺)" userId="40660eec-0f7d-4f76-820a-6b6c2202dd67" providerId="ADAL" clId="{BFF7D067-EF6C-45E0-A6DE-19D0DA41B8A1}" dt="2026-07-16T06:35:10.814" v="3"/>
          <ac:spMkLst>
            <pc:docMk/>
            <pc:sldMk cId="1549243384" sldId="371"/>
            <ac:spMk id="49" creationId="{EB57F271-97A6-43A6-5A58-990382E4A5B1}"/>
          </ac:spMkLst>
        </pc:spChg>
        <pc:spChg chg="mod">
          <ac:chgData name="Chunyen Li (李 俊諺)" userId="40660eec-0f7d-4f76-820a-6b6c2202dd67" providerId="ADAL" clId="{BFF7D067-EF6C-45E0-A6DE-19D0DA41B8A1}" dt="2026-07-16T06:35:10.814" v="3"/>
          <ac:spMkLst>
            <pc:docMk/>
            <pc:sldMk cId="1549243384" sldId="371"/>
            <ac:spMk id="52" creationId="{A560EFF3-9169-18FB-3F4A-E51287EF4E60}"/>
          </ac:spMkLst>
        </pc:spChg>
        <pc:spChg chg="mod">
          <ac:chgData name="Chunyen Li (李 俊諺)" userId="40660eec-0f7d-4f76-820a-6b6c2202dd67" providerId="ADAL" clId="{BFF7D067-EF6C-45E0-A6DE-19D0DA41B8A1}" dt="2026-07-16T06:35:10.814" v="3"/>
          <ac:spMkLst>
            <pc:docMk/>
            <pc:sldMk cId="1549243384" sldId="371"/>
            <ac:spMk id="54" creationId="{1D73C6F8-6FC2-396D-2BE5-32B39E81FBCD}"/>
          </ac:spMkLst>
        </pc:spChg>
        <pc:spChg chg="mod">
          <ac:chgData name="Chunyen Li (李 俊諺)" userId="40660eec-0f7d-4f76-820a-6b6c2202dd67" providerId="ADAL" clId="{BFF7D067-EF6C-45E0-A6DE-19D0DA41B8A1}" dt="2026-07-16T06:35:10.814" v="3"/>
          <ac:spMkLst>
            <pc:docMk/>
            <pc:sldMk cId="1549243384" sldId="371"/>
            <ac:spMk id="56" creationId="{D5DE59D6-40A5-01C4-043E-7FF08280B0AE}"/>
          </ac:spMkLst>
        </pc:spChg>
        <pc:spChg chg="mod">
          <ac:chgData name="Chunyen Li (李 俊諺)" userId="40660eec-0f7d-4f76-820a-6b6c2202dd67" providerId="ADAL" clId="{BFF7D067-EF6C-45E0-A6DE-19D0DA41B8A1}" dt="2026-07-16T06:35:10.814" v="3"/>
          <ac:spMkLst>
            <pc:docMk/>
            <pc:sldMk cId="1549243384" sldId="371"/>
            <ac:spMk id="57" creationId="{F7060ABF-0832-E634-420F-E1E06FE384CE}"/>
          </ac:spMkLst>
        </pc:spChg>
        <pc:spChg chg="mod">
          <ac:chgData name="Chunyen Li (李 俊諺)" userId="40660eec-0f7d-4f76-820a-6b6c2202dd67" providerId="ADAL" clId="{BFF7D067-EF6C-45E0-A6DE-19D0DA41B8A1}" dt="2026-07-16T06:35:10.814" v="3"/>
          <ac:spMkLst>
            <pc:docMk/>
            <pc:sldMk cId="1549243384" sldId="371"/>
            <ac:spMk id="199" creationId="{824403C1-0344-74DF-13A7-71A7BB15DF4F}"/>
          </ac:spMkLst>
        </pc:spChg>
      </pc:sldChg>
      <pc:sldChg chg="modSp">
        <pc:chgData name="Chunyen Li (李 俊諺)" userId="40660eec-0f7d-4f76-820a-6b6c2202dd67" providerId="ADAL" clId="{BFF7D067-EF6C-45E0-A6DE-19D0DA41B8A1}" dt="2026-07-16T06:35:10.814" v="3"/>
        <pc:sldMkLst>
          <pc:docMk/>
          <pc:sldMk cId="120644009" sldId="372"/>
        </pc:sldMkLst>
        <pc:spChg chg="mod">
          <ac:chgData name="Chunyen Li (李 俊諺)" userId="40660eec-0f7d-4f76-820a-6b6c2202dd67" providerId="ADAL" clId="{BFF7D067-EF6C-45E0-A6DE-19D0DA41B8A1}" dt="2026-07-16T06:35:10.814" v="3"/>
          <ac:spMkLst>
            <pc:docMk/>
            <pc:sldMk cId="120644009" sldId="372"/>
            <ac:spMk id="9" creationId="{20A2F961-39A8-D10E-50F6-CEC50206D0D1}"/>
          </ac:spMkLst>
        </pc:spChg>
        <pc:spChg chg="mod">
          <ac:chgData name="Chunyen Li (李 俊諺)" userId="40660eec-0f7d-4f76-820a-6b6c2202dd67" providerId="ADAL" clId="{BFF7D067-EF6C-45E0-A6DE-19D0DA41B8A1}" dt="2026-07-16T06:35:10.814" v="3"/>
          <ac:spMkLst>
            <pc:docMk/>
            <pc:sldMk cId="120644009" sldId="372"/>
            <ac:spMk id="11" creationId="{BACD2AEC-840F-9DFF-16F4-A6DF86BAB050}"/>
          </ac:spMkLst>
        </pc:spChg>
        <pc:spChg chg="mod">
          <ac:chgData name="Chunyen Li (李 俊諺)" userId="40660eec-0f7d-4f76-820a-6b6c2202dd67" providerId="ADAL" clId="{BFF7D067-EF6C-45E0-A6DE-19D0DA41B8A1}" dt="2026-07-16T06:35:10.814" v="3"/>
          <ac:spMkLst>
            <pc:docMk/>
            <pc:sldMk cId="120644009" sldId="372"/>
            <ac:spMk id="13" creationId="{91F55858-6CC9-AED2-57AF-55EB4DA8E875}"/>
          </ac:spMkLst>
        </pc:spChg>
      </pc:sldChg>
      <pc:sldChg chg="modSp">
        <pc:chgData name="Chunyen Li (李 俊諺)" userId="40660eec-0f7d-4f76-820a-6b6c2202dd67" providerId="ADAL" clId="{BFF7D067-EF6C-45E0-A6DE-19D0DA41B8A1}" dt="2026-07-16T06:35:10.814" v="3"/>
        <pc:sldMkLst>
          <pc:docMk/>
          <pc:sldMk cId="403956962" sldId="373"/>
        </pc:sldMkLst>
        <pc:picChg chg="mod">
          <ac:chgData name="Chunyen Li (李 俊諺)" userId="40660eec-0f7d-4f76-820a-6b6c2202dd67" providerId="ADAL" clId="{BFF7D067-EF6C-45E0-A6DE-19D0DA41B8A1}" dt="2026-07-16T06:35:10.814" v="3"/>
          <ac:picMkLst>
            <pc:docMk/>
            <pc:sldMk cId="403956962" sldId="373"/>
            <ac:picMk id="10" creationId="{BE002DF2-0567-5ABB-67EC-A2C978B12406}"/>
          </ac:picMkLst>
        </pc:picChg>
      </pc:sldChg>
      <pc:sldChg chg="modSp">
        <pc:chgData name="Chunyen Li (李 俊諺)" userId="40660eec-0f7d-4f76-820a-6b6c2202dd67" providerId="ADAL" clId="{BFF7D067-EF6C-45E0-A6DE-19D0DA41B8A1}" dt="2026-07-16T06:35:10.814" v="3"/>
        <pc:sldMkLst>
          <pc:docMk/>
          <pc:sldMk cId="2833373727" sldId="374"/>
        </pc:sldMkLst>
        <pc:spChg chg="mod">
          <ac:chgData name="Chunyen Li (李 俊諺)" userId="40660eec-0f7d-4f76-820a-6b6c2202dd67" providerId="ADAL" clId="{BFF7D067-EF6C-45E0-A6DE-19D0DA41B8A1}" dt="2026-07-16T06:35:10.814" v="3"/>
          <ac:spMkLst>
            <pc:docMk/>
            <pc:sldMk cId="2833373727" sldId="374"/>
            <ac:spMk id="2" creationId="{2328B1F5-6C15-CE8F-6937-64169EB61126}"/>
          </ac:spMkLst>
        </pc:spChg>
        <pc:spChg chg="mod">
          <ac:chgData name="Chunyen Li (李 俊諺)" userId="40660eec-0f7d-4f76-820a-6b6c2202dd67" providerId="ADAL" clId="{BFF7D067-EF6C-45E0-A6DE-19D0DA41B8A1}" dt="2026-07-16T06:35:10.814" v="3"/>
          <ac:spMkLst>
            <pc:docMk/>
            <pc:sldMk cId="2833373727" sldId="374"/>
            <ac:spMk id="12" creationId="{22F0A0E8-62A1-8814-0BD6-677928130BFC}"/>
          </ac:spMkLst>
        </pc:spChg>
      </pc:sldChg>
      <pc:sldChg chg="modSp modNotes">
        <pc:chgData name="Chunyen Li (李 俊諺)" userId="40660eec-0f7d-4f76-820a-6b6c2202dd67" providerId="ADAL" clId="{BFF7D067-EF6C-45E0-A6DE-19D0DA41B8A1}" dt="2026-07-16T06:35:10.814" v="3"/>
        <pc:sldMkLst>
          <pc:docMk/>
          <pc:sldMk cId="2871425068" sldId="375"/>
        </pc:sldMkLst>
        <pc:spChg chg="mod">
          <ac:chgData name="Chunyen Li (李 俊諺)" userId="40660eec-0f7d-4f76-820a-6b6c2202dd67" providerId="ADAL" clId="{BFF7D067-EF6C-45E0-A6DE-19D0DA41B8A1}" dt="2026-07-16T06:35:10.814" v="3"/>
          <ac:spMkLst>
            <pc:docMk/>
            <pc:sldMk cId="2871425068" sldId="375"/>
            <ac:spMk id="3" creationId="{D915B2F1-A492-5ECF-294C-143AF14C7A9B}"/>
          </ac:spMkLst>
        </pc:spChg>
        <pc:spChg chg="mod">
          <ac:chgData name="Chunyen Li (李 俊諺)" userId="40660eec-0f7d-4f76-820a-6b6c2202dd67" providerId="ADAL" clId="{BFF7D067-EF6C-45E0-A6DE-19D0DA41B8A1}" dt="2026-07-16T06:35:10.814" v="3"/>
          <ac:spMkLst>
            <pc:docMk/>
            <pc:sldMk cId="2871425068" sldId="375"/>
            <ac:spMk id="4" creationId="{AAF49ABF-164C-0F11-682A-DA411D249686}"/>
          </ac:spMkLst>
        </pc:spChg>
        <pc:spChg chg="mod">
          <ac:chgData name="Chunyen Li (李 俊諺)" userId="40660eec-0f7d-4f76-820a-6b6c2202dd67" providerId="ADAL" clId="{BFF7D067-EF6C-45E0-A6DE-19D0DA41B8A1}" dt="2026-07-16T06:35:10.814" v="3"/>
          <ac:spMkLst>
            <pc:docMk/>
            <pc:sldMk cId="2871425068" sldId="375"/>
            <ac:spMk id="10" creationId="{E59DAA23-8DAB-A6DD-5381-B6040EF0E24B}"/>
          </ac:spMkLst>
        </pc:spChg>
        <pc:spChg chg="mod">
          <ac:chgData name="Chunyen Li (李 俊諺)" userId="40660eec-0f7d-4f76-820a-6b6c2202dd67" providerId="ADAL" clId="{BFF7D067-EF6C-45E0-A6DE-19D0DA41B8A1}" dt="2026-07-16T06:35:10.814" v="3"/>
          <ac:spMkLst>
            <pc:docMk/>
            <pc:sldMk cId="2871425068" sldId="375"/>
            <ac:spMk id="13" creationId="{F1CC24FC-6A33-1469-763D-6F94E09D9C1C}"/>
          </ac:spMkLst>
        </pc:spChg>
        <pc:spChg chg="mod">
          <ac:chgData name="Chunyen Li (李 俊諺)" userId="40660eec-0f7d-4f76-820a-6b6c2202dd67" providerId="ADAL" clId="{BFF7D067-EF6C-45E0-A6DE-19D0DA41B8A1}" dt="2026-07-16T06:35:10.814" v="3"/>
          <ac:spMkLst>
            <pc:docMk/>
            <pc:sldMk cId="2871425068" sldId="375"/>
            <ac:spMk id="19" creationId="{48954CA5-90FD-816B-3594-4EC93093E672}"/>
          </ac:spMkLst>
        </pc:spChg>
        <pc:spChg chg="mod">
          <ac:chgData name="Chunyen Li (李 俊諺)" userId="40660eec-0f7d-4f76-820a-6b6c2202dd67" providerId="ADAL" clId="{BFF7D067-EF6C-45E0-A6DE-19D0DA41B8A1}" dt="2026-07-16T06:35:10.814" v="3"/>
          <ac:spMkLst>
            <pc:docMk/>
            <pc:sldMk cId="2871425068" sldId="375"/>
            <ac:spMk id="21" creationId="{EAEFD47D-CA9E-5047-08CD-CC661144904A}"/>
          </ac:spMkLst>
        </pc:spChg>
        <pc:spChg chg="mod">
          <ac:chgData name="Chunyen Li (李 俊諺)" userId="40660eec-0f7d-4f76-820a-6b6c2202dd67" providerId="ADAL" clId="{BFF7D067-EF6C-45E0-A6DE-19D0DA41B8A1}" dt="2026-07-16T06:35:10.814" v="3"/>
          <ac:spMkLst>
            <pc:docMk/>
            <pc:sldMk cId="2871425068" sldId="375"/>
            <ac:spMk id="26" creationId="{02FA0425-5975-AD65-59CA-1AD323215386}"/>
          </ac:spMkLst>
        </pc:spChg>
        <pc:spChg chg="mod">
          <ac:chgData name="Chunyen Li (李 俊諺)" userId="40660eec-0f7d-4f76-820a-6b6c2202dd67" providerId="ADAL" clId="{BFF7D067-EF6C-45E0-A6DE-19D0DA41B8A1}" dt="2026-07-16T06:35:10.814" v="3"/>
          <ac:spMkLst>
            <pc:docMk/>
            <pc:sldMk cId="2871425068" sldId="375"/>
            <ac:spMk id="43" creationId="{2CCCDCE2-67AC-813E-3F6B-CECFE855C51D}"/>
          </ac:spMkLst>
        </pc:spChg>
        <pc:spChg chg="mod">
          <ac:chgData name="Chunyen Li (李 俊諺)" userId="40660eec-0f7d-4f76-820a-6b6c2202dd67" providerId="ADAL" clId="{BFF7D067-EF6C-45E0-A6DE-19D0DA41B8A1}" dt="2026-07-16T06:35:10.814" v="3"/>
          <ac:spMkLst>
            <pc:docMk/>
            <pc:sldMk cId="2871425068" sldId="375"/>
            <ac:spMk id="45" creationId="{836A6B31-C65A-7BA6-C102-38EC12A454BC}"/>
          </ac:spMkLst>
        </pc:spChg>
        <pc:spChg chg="mod">
          <ac:chgData name="Chunyen Li (李 俊諺)" userId="40660eec-0f7d-4f76-820a-6b6c2202dd67" providerId="ADAL" clId="{BFF7D067-EF6C-45E0-A6DE-19D0DA41B8A1}" dt="2026-07-16T06:35:10.814" v="3"/>
          <ac:spMkLst>
            <pc:docMk/>
            <pc:sldMk cId="2871425068" sldId="375"/>
            <ac:spMk id="199" creationId="{5916ACDC-6E39-A261-6F4B-70AE016F4E60}"/>
          </ac:spMkLst>
        </pc:spChg>
      </pc:sldChg>
      <pc:sldChg chg="modSp">
        <pc:chgData name="Chunyen Li (李 俊諺)" userId="40660eec-0f7d-4f76-820a-6b6c2202dd67" providerId="ADAL" clId="{BFF7D067-EF6C-45E0-A6DE-19D0DA41B8A1}" dt="2026-07-16T06:35:10.814" v="3"/>
        <pc:sldMkLst>
          <pc:docMk/>
          <pc:sldMk cId="2563559485" sldId="377"/>
        </pc:sldMkLst>
        <pc:spChg chg="mod">
          <ac:chgData name="Chunyen Li (李 俊諺)" userId="40660eec-0f7d-4f76-820a-6b6c2202dd67" providerId="ADAL" clId="{BFF7D067-EF6C-45E0-A6DE-19D0DA41B8A1}" dt="2026-07-16T06:35:10.814" v="3"/>
          <ac:spMkLst>
            <pc:docMk/>
            <pc:sldMk cId="2563559485" sldId="377"/>
            <ac:spMk id="7" creationId="{E886AD84-7A62-A84E-AB6F-4D100149BBD0}"/>
          </ac:spMkLst>
        </pc:spChg>
        <pc:spChg chg="mod">
          <ac:chgData name="Chunyen Li (李 俊諺)" userId="40660eec-0f7d-4f76-820a-6b6c2202dd67" providerId="ADAL" clId="{BFF7D067-EF6C-45E0-A6DE-19D0DA41B8A1}" dt="2026-07-16T06:35:10.814" v="3"/>
          <ac:spMkLst>
            <pc:docMk/>
            <pc:sldMk cId="2563559485" sldId="377"/>
            <ac:spMk id="13" creationId="{88BB6996-3BA8-E659-9BCE-603583D063BB}"/>
          </ac:spMkLst>
        </pc:spChg>
        <pc:spChg chg="mod">
          <ac:chgData name="Chunyen Li (李 俊諺)" userId="40660eec-0f7d-4f76-820a-6b6c2202dd67" providerId="ADAL" clId="{BFF7D067-EF6C-45E0-A6DE-19D0DA41B8A1}" dt="2026-07-16T06:35:10.814" v="3"/>
          <ac:spMkLst>
            <pc:docMk/>
            <pc:sldMk cId="2563559485" sldId="377"/>
            <ac:spMk id="16" creationId="{B64D7F85-19A5-8048-3E50-9C8F45E56D18}"/>
          </ac:spMkLst>
        </pc:spChg>
        <pc:spChg chg="mod">
          <ac:chgData name="Chunyen Li (李 俊諺)" userId="40660eec-0f7d-4f76-820a-6b6c2202dd67" providerId="ADAL" clId="{BFF7D067-EF6C-45E0-A6DE-19D0DA41B8A1}" dt="2026-07-16T06:35:10.814" v="3"/>
          <ac:spMkLst>
            <pc:docMk/>
            <pc:sldMk cId="2563559485" sldId="377"/>
            <ac:spMk id="199" creationId="{F085A16B-80BD-4468-75B1-A18BB6900E5C}"/>
          </ac:spMkLst>
        </pc:spChg>
        <pc:picChg chg="mod">
          <ac:chgData name="Chunyen Li (李 俊諺)" userId="40660eec-0f7d-4f76-820a-6b6c2202dd67" providerId="ADAL" clId="{BFF7D067-EF6C-45E0-A6DE-19D0DA41B8A1}" dt="2026-07-16T06:35:10.814" v="3"/>
          <ac:picMkLst>
            <pc:docMk/>
            <pc:sldMk cId="2563559485" sldId="377"/>
            <ac:picMk id="12" creationId="{70D0C017-BC1D-5BB6-85B3-49192B14BEFE}"/>
          </ac:picMkLst>
        </pc:picChg>
        <pc:picChg chg="mod">
          <ac:chgData name="Chunyen Li (李 俊諺)" userId="40660eec-0f7d-4f76-820a-6b6c2202dd67" providerId="ADAL" clId="{BFF7D067-EF6C-45E0-A6DE-19D0DA41B8A1}" dt="2026-07-16T06:35:10.814" v="3"/>
          <ac:picMkLst>
            <pc:docMk/>
            <pc:sldMk cId="2563559485" sldId="377"/>
            <ac:picMk id="14" creationId="{80B4541D-0243-E8F3-3569-2C2155098A55}"/>
          </ac:picMkLst>
        </pc:picChg>
        <pc:cxnChg chg="mod">
          <ac:chgData name="Chunyen Li (李 俊諺)" userId="40660eec-0f7d-4f76-820a-6b6c2202dd67" providerId="ADAL" clId="{BFF7D067-EF6C-45E0-A6DE-19D0DA41B8A1}" dt="2026-07-16T06:35:10.814" v="3"/>
          <ac:cxnSpMkLst>
            <pc:docMk/>
            <pc:sldMk cId="2563559485" sldId="377"/>
            <ac:cxnSpMk id="9" creationId="{5E6001F2-F3AB-9E00-00D0-A811C594FBA7}"/>
          </ac:cxnSpMkLst>
        </pc:cxnChg>
      </pc:sldChg>
      <pc:sldChg chg="modSp">
        <pc:chgData name="Chunyen Li (李 俊諺)" userId="40660eec-0f7d-4f76-820a-6b6c2202dd67" providerId="ADAL" clId="{BFF7D067-EF6C-45E0-A6DE-19D0DA41B8A1}" dt="2026-07-16T06:35:10.814" v="3"/>
        <pc:sldMkLst>
          <pc:docMk/>
          <pc:sldMk cId="2195180544" sldId="378"/>
        </pc:sldMkLst>
        <pc:spChg chg="mod">
          <ac:chgData name="Chunyen Li (李 俊諺)" userId="40660eec-0f7d-4f76-820a-6b6c2202dd67" providerId="ADAL" clId="{BFF7D067-EF6C-45E0-A6DE-19D0DA41B8A1}" dt="2026-07-16T06:35:10.814" v="3"/>
          <ac:spMkLst>
            <pc:docMk/>
            <pc:sldMk cId="2195180544" sldId="378"/>
            <ac:spMk id="16" creationId="{A7787126-2E76-B8FA-DA5C-864304943FF6}"/>
          </ac:spMkLst>
        </pc:spChg>
        <pc:spChg chg="mod">
          <ac:chgData name="Chunyen Li (李 俊諺)" userId="40660eec-0f7d-4f76-820a-6b6c2202dd67" providerId="ADAL" clId="{BFF7D067-EF6C-45E0-A6DE-19D0DA41B8A1}" dt="2026-07-16T06:35:10.814" v="3"/>
          <ac:spMkLst>
            <pc:docMk/>
            <pc:sldMk cId="2195180544" sldId="378"/>
            <ac:spMk id="25" creationId="{47FB6FCC-099F-5F6A-2CCC-2FD5FF440B4E}"/>
          </ac:spMkLst>
        </pc:spChg>
        <pc:spChg chg="mod">
          <ac:chgData name="Chunyen Li (李 俊諺)" userId="40660eec-0f7d-4f76-820a-6b6c2202dd67" providerId="ADAL" clId="{BFF7D067-EF6C-45E0-A6DE-19D0DA41B8A1}" dt="2026-07-16T06:35:10.814" v="3"/>
          <ac:spMkLst>
            <pc:docMk/>
            <pc:sldMk cId="2195180544" sldId="378"/>
            <ac:spMk id="30" creationId="{4D9610A1-FE7E-A6D3-2791-DCEEADE4BA28}"/>
          </ac:spMkLst>
        </pc:spChg>
        <pc:spChg chg="mod">
          <ac:chgData name="Chunyen Li (李 俊諺)" userId="40660eec-0f7d-4f76-820a-6b6c2202dd67" providerId="ADAL" clId="{BFF7D067-EF6C-45E0-A6DE-19D0DA41B8A1}" dt="2026-07-16T06:35:10.814" v="3"/>
          <ac:spMkLst>
            <pc:docMk/>
            <pc:sldMk cId="2195180544" sldId="378"/>
            <ac:spMk id="31" creationId="{46A8B7BD-260C-D315-CC8E-201DB80F9AF2}"/>
          </ac:spMkLst>
        </pc:spChg>
        <pc:spChg chg="mod">
          <ac:chgData name="Chunyen Li (李 俊諺)" userId="40660eec-0f7d-4f76-820a-6b6c2202dd67" providerId="ADAL" clId="{BFF7D067-EF6C-45E0-A6DE-19D0DA41B8A1}" dt="2026-07-16T06:35:10.814" v="3"/>
          <ac:spMkLst>
            <pc:docMk/>
            <pc:sldMk cId="2195180544" sldId="378"/>
            <ac:spMk id="33" creationId="{943ED6E8-3B4F-4B2B-14A2-698B158552D7}"/>
          </ac:spMkLst>
        </pc:spChg>
        <pc:spChg chg="mod">
          <ac:chgData name="Chunyen Li (李 俊諺)" userId="40660eec-0f7d-4f76-820a-6b6c2202dd67" providerId="ADAL" clId="{BFF7D067-EF6C-45E0-A6DE-19D0DA41B8A1}" dt="2026-07-16T06:35:10.814" v="3"/>
          <ac:spMkLst>
            <pc:docMk/>
            <pc:sldMk cId="2195180544" sldId="378"/>
            <ac:spMk id="44" creationId="{00C25936-2704-8963-3630-89BFB051406F}"/>
          </ac:spMkLst>
        </pc:spChg>
        <pc:spChg chg="mod">
          <ac:chgData name="Chunyen Li (李 俊諺)" userId="40660eec-0f7d-4f76-820a-6b6c2202dd67" providerId="ADAL" clId="{BFF7D067-EF6C-45E0-A6DE-19D0DA41B8A1}" dt="2026-07-16T06:35:10.814" v="3"/>
          <ac:spMkLst>
            <pc:docMk/>
            <pc:sldMk cId="2195180544" sldId="378"/>
            <ac:spMk id="50" creationId="{ADCF9CA6-CB50-1D37-9DE2-369F7287406A}"/>
          </ac:spMkLst>
        </pc:spChg>
        <pc:spChg chg="mod">
          <ac:chgData name="Chunyen Li (李 俊諺)" userId="40660eec-0f7d-4f76-820a-6b6c2202dd67" providerId="ADAL" clId="{BFF7D067-EF6C-45E0-A6DE-19D0DA41B8A1}" dt="2026-07-16T06:35:10.814" v="3"/>
          <ac:spMkLst>
            <pc:docMk/>
            <pc:sldMk cId="2195180544" sldId="378"/>
            <ac:spMk id="53" creationId="{8D214331-8DBD-B03C-1A8B-08735612426E}"/>
          </ac:spMkLst>
        </pc:spChg>
        <pc:spChg chg="mod">
          <ac:chgData name="Chunyen Li (李 俊諺)" userId="40660eec-0f7d-4f76-820a-6b6c2202dd67" providerId="ADAL" clId="{BFF7D067-EF6C-45E0-A6DE-19D0DA41B8A1}" dt="2026-07-16T06:35:10.814" v="3"/>
          <ac:spMkLst>
            <pc:docMk/>
            <pc:sldMk cId="2195180544" sldId="378"/>
            <ac:spMk id="54" creationId="{A54BD649-7555-AEFC-BDD5-E238C0D8321F}"/>
          </ac:spMkLst>
        </pc:spChg>
        <pc:spChg chg="mod">
          <ac:chgData name="Chunyen Li (李 俊諺)" userId="40660eec-0f7d-4f76-820a-6b6c2202dd67" providerId="ADAL" clId="{BFF7D067-EF6C-45E0-A6DE-19D0DA41B8A1}" dt="2026-07-16T06:35:10.814" v="3"/>
          <ac:spMkLst>
            <pc:docMk/>
            <pc:sldMk cId="2195180544" sldId="378"/>
            <ac:spMk id="55" creationId="{BD286151-AE4C-449C-E66E-5244A93494B2}"/>
          </ac:spMkLst>
        </pc:spChg>
      </pc:sldChg>
      <pc:sldChg chg="modSp">
        <pc:chgData name="Chunyen Li (李 俊諺)" userId="40660eec-0f7d-4f76-820a-6b6c2202dd67" providerId="ADAL" clId="{BFF7D067-EF6C-45E0-A6DE-19D0DA41B8A1}" dt="2026-07-16T06:35:10.814" v="3"/>
        <pc:sldMkLst>
          <pc:docMk/>
          <pc:sldMk cId="1828030227" sldId="381"/>
        </pc:sldMkLst>
        <pc:spChg chg="mod">
          <ac:chgData name="Chunyen Li (李 俊諺)" userId="40660eec-0f7d-4f76-820a-6b6c2202dd67" providerId="ADAL" clId="{BFF7D067-EF6C-45E0-A6DE-19D0DA41B8A1}" dt="2026-07-16T06:35:10.814" v="3"/>
          <ac:spMkLst>
            <pc:docMk/>
            <pc:sldMk cId="1828030227" sldId="381"/>
            <ac:spMk id="6" creationId="{62AD1F03-BE83-9555-F268-547783573972}"/>
          </ac:spMkLst>
        </pc:spChg>
        <pc:spChg chg="mod">
          <ac:chgData name="Chunyen Li (李 俊諺)" userId="40660eec-0f7d-4f76-820a-6b6c2202dd67" providerId="ADAL" clId="{BFF7D067-EF6C-45E0-A6DE-19D0DA41B8A1}" dt="2026-07-16T06:35:10.814" v="3"/>
          <ac:spMkLst>
            <pc:docMk/>
            <pc:sldMk cId="1828030227" sldId="381"/>
            <ac:spMk id="15" creationId="{CF1E3C54-FCB1-E0F0-172C-E0846ED2F115}"/>
          </ac:spMkLst>
        </pc:spChg>
        <pc:spChg chg="mod">
          <ac:chgData name="Chunyen Li (李 俊諺)" userId="40660eec-0f7d-4f76-820a-6b6c2202dd67" providerId="ADAL" clId="{BFF7D067-EF6C-45E0-A6DE-19D0DA41B8A1}" dt="2026-07-16T06:35:10.814" v="3"/>
          <ac:spMkLst>
            <pc:docMk/>
            <pc:sldMk cId="1828030227" sldId="381"/>
            <ac:spMk id="16" creationId="{6E1F6925-AE1C-95AC-D129-7C230AB54298}"/>
          </ac:spMkLst>
        </pc:spChg>
        <pc:graphicFrameChg chg="mod">
          <ac:chgData name="Chunyen Li (李 俊諺)" userId="40660eec-0f7d-4f76-820a-6b6c2202dd67" providerId="ADAL" clId="{BFF7D067-EF6C-45E0-A6DE-19D0DA41B8A1}" dt="2026-07-16T06:35:10.814" v="3"/>
          <ac:graphicFrameMkLst>
            <pc:docMk/>
            <pc:sldMk cId="1828030227" sldId="381"/>
            <ac:graphicFrameMk id="2" creationId="{B2D426D9-8CE5-D9E0-8FAE-3B6DCBD612AA}"/>
          </ac:graphicFrameMkLst>
        </pc:graphicFrameChg>
        <pc:picChg chg="mod">
          <ac:chgData name="Chunyen Li (李 俊諺)" userId="40660eec-0f7d-4f76-820a-6b6c2202dd67" providerId="ADAL" clId="{BFF7D067-EF6C-45E0-A6DE-19D0DA41B8A1}" dt="2026-07-16T06:35:10.814" v="3"/>
          <ac:picMkLst>
            <pc:docMk/>
            <pc:sldMk cId="1828030227" sldId="381"/>
            <ac:picMk id="3" creationId="{DB28E611-0B80-B7DF-3240-9E1414D65C12}"/>
          </ac:picMkLst>
        </pc:picChg>
        <pc:cxnChg chg="mod">
          <ac:chgData name="Chunyen Li (李 俊諺)" userId="40660eec-0f7d-4f76-820a-6b6c2202dd67" providerId="ADAL" clId="{BFF7D067-EF6C-45E0-A6DE-19D0DA41B8A1}" dt="2026-07-16T06:35:10.814" v="3"/>
          <ac:cxnSpMkLst>
            <pc:docMk/>
            <pc:sldMk cId="1828030227" sldId="381"/>
            <ac:cxnSpMk id="17" creationId="{44D4B00B-14B2-5BC3-568A-DE4122536A75}"/>
          </ac:cxnSpMkLst>
        </pc:cxnChg>
      </pc:sldChg>
      <pc:sldChg chg="modSp modNotes">
        <pc:chgData name="Chunyen Li (李 俊諺)" userId="40660eec-0f7d-4f76-820a-6b6c2202dd67" providerId="ADAL" clId="{BFF7D067-EF6C-45E0-A6DE-19D0DA41B8A1}" dt="2026-07-16T06:35:10.814" v="3"/>
        <pc:sldMkLst>
          <pc:docMk/>
          <pc:sldMk cId="3506946596" sldId="383"/>
        </pc:sldMkLst>
        <pc:spChg chg="mod">
          <ac:chgData name="Chunyen Li (李 俊諺)" userId="40660eec-0f7d-4f76-820a-6b6c2202dd67" providerId="ADAL" clId="{BFF7D067-EF6C-45E0-A6DE-19D0DA41B8A1}" dt="2026-07-16T06:35:10.814" v="3"/>
          <ac:spMkLst>
            <pc:docMk/>
            <pc:sldMk cId="3506946596" sldId="383"/>
            <ac:spMk id="2" creationId="{AC7406FA-351B-3637-153B-EE23BBF7CE50}"/>
          </ac:spMkLst>
        </pc:spChg>
        <pc:spChg chg="mod">
          <ac:chgData name="Chunyen Li (李 俊諺)" userId="40660eec-0f7d-4f76-820a-6b6c2202dd67" providerId="ADAL" clId="{BFF7D067-EF6C-45E0-A6DE-19D0DA41B8A1}" dt="2026-07-16T06:35:10.814" v="3"/>
          <ac:spMkLst>
            <pc:docMk/>
            <pc:sldMk cId="3506946596" sldId="383"/>
            <ac:spMk id="48" creationId="{3A65EFEE-44EB-4E65-472D-7BE2CE442A55}"/>
          </ac:spMkLst>
        </pc:spChg>
        <pc:spChg chg="mod">
          <ac:chgData name="Chunyen Li (李 俊諺)" userId="40660eec-0f7d-4f76-820a-6b6c2202dd67" providerId="ADAL" clId="{BFF7D067-EF6C-45E0-A6DE-19D0DA41B8A1}" dt="2026-07-16T06:35:10.814" v="3"/>
          <ac:spMkLst>
            <pc:docMk/>
            <pc:sldMk cId="3506946596" sldId="383"/>
            <ac:spMk id="49" creationId="{1D1A19D4-F814-7F8E-70AA-A2AFA5FCA715}"/>
          </ac:spMkLst>
        </pc:spChg>
        <pc:spChg chg="mod">
          <ac:chgData name="Chunyen Li (李 俊諺)" userId="40660eec-0f7d-4f76-820a-6b6c2202dd67" providerId="ADAL" clId="{BFF7D067-EF6C-45E0-A6DE-19D0DA41B8A1}" dt="2026-07-16T06:35:10.814" v="3"/>
          <ac:spMkLst>
            <pc:docMk/>
            <pc:sldMk cId="3506946596" sldId="383"/>
            <ac:spMk id="57" creationId="{B2DFB262-5EAD-4282-3186-DB5F6078035B}"/>
          </ac:spMkLst>
        </pc:spChg>
        <pc:spChg chg="mod">
          <ac:chgData name="Chunyen Li (李 俊諺)" userId="40660eec-0f7d-4f76-820a-6b6c2202dd67" providerId="ADAL" clId="{BFF7D067-EF6C-45E0-A6DE-19D0DA41B8A1}" dt="2026-07-16T06:35:10.814" v="3"/>
          <ac:spMkLst>
            <pc:docMk/>
            <pc:sldMk cId="3506946596" sldId="383"/>
            <ac:spMk id="59" creationId="{8BD22DC5-C653-0C89-387F-A5C11DBA9FFF}"/>
          </ac:spMkLst>
        </pc:spChg>
        <pc:spChg chg="mod">
          <ac:chgData name="Chunyen Li (李 俊諺)" userId="40660eec-0f7d-4f76-820a-6b6c2202dd67" providerId="ADAL" clId="{BFF7D067-EF6C-45E0-A6DE-19D0DA41B8A1}" dt="2026-07-16T06:35:10.814" v="3"/>
          <ac:spMkLst>
            <pc:docMk/>
            <pc:sldMk cId="3506946596" sldId="383"/>
            <ac:spMk id="199" creationId="{003AA0D4-F01E-E388-DF51-F68C5C2763D6}"/>
          </ac:spMkLst>
        </pc:spChg>
        <pc:spChg chg="mod">
          <ac:chgData name="Chunyen Li (李 俊諺)" userId="40660eec-0f7d-4f76-820a-6b6c2202dd67" providerId="ADAL" clId="{BFF7D067-EF6C-45E0-A6DE-19D0DA41B8A1}" dt="2026-07-16T06:35:10.814" v="3"/>
          <ac:spMkLst>
            <pc:docMk/>
            <pc:sldMk cId="3506946596" sldId="383"/>
            <ac:spMk id="1042" creationId="{194B8EA4-ABAB-AF73-50DD-E229884C66D0}"/>
          </ac:spMkLst>
        </pc:spChg>
        <pc:spChg chg="mod">
          <ac:chgData name="Chunyen Li (李 俊諺)" userId="40660eec-0f7d-4f76-820a-6b6c2202dd67" providerId="ADAL" clId="{BFF7D067-EF6C-45E0-A6DE-19D0DA41B8A1}" dt="2026-07-16T06:35:10.814" v="3"/>
          <ac:spMkLst>
            <pc:docMk/>
            <pc:sldMk cId="3506946596" sldId="383"/>
            <ac:spMk id="1047" creationId="{1A4670A1-17AC-58B0-9FEF-C675EDBA7C51}"/>
          </ac:spMkLst>
        </pc:spChg>
        <pc:spChg chg="mod">
          <ac:chgData name="Chunyen Li (李 俊諺)" userId="40660eec-0f7d-4f76-820a-6b6c2202dd67" providerId="ADAL" clId="{BFF7D067-EF6C-45E0-A6DE-19D0DA41B8A1}" dt="2026-07-16T06:35:10.814" v="3"/>
          <ac:spMkLst>
            <pc:docMk/>
            <pc:sldMk cId="3506946596" sldId="383"/>
            <ac:spMk id="1059" creationId="{67CDD5CA-4A1F-6268-ECE5-FB078563058C}"/>
          </ac:spMkLst>
        </pc:spChg>
        <pc:spChg chg="mod">
          <ac:chgData name="Chunyen Li (李 俊諺)" userId="40660eec-0f7d-4f76-820a-6b6c2202dd67" providerId="ADAL" clId="{BFF7D067-EF6C-45E0-A6DE-19D0DA41B8A1}" dt="2026-07-16T06:35:10.814" v="3"/>
          <ac:spMkLst>
            <pc:docMk/>
            <pc:sldMk cId="3506946596" sldId="383"/>
            <ac:spMk id="1063" creationId="{FFDBF5AE-98F4-BAD5-95DD-9CD901ABBB5D}"/>
          </ac:spMkLst>
        </pc:spChg>
      </pc:sldChg>
      <pc:sldChg chg="modSp">
        <pc:chgData name="Chunyen Li (李 俊諺)" userId="40660eec-0f7d-4f76-820a-6b6c2202dd67" providerId="ADAL" clId="{BFF7D067-EF6C-45E0-A6DE-19D0DA41B8A1}" dt="2026-07-16T06:35:10.814" v="3"/>
        <pc:sldMkLst>
          <pc:docMk/>
          <pc:sldMk cId="1013319418" sldId="384"/>
        </pc:sldMkLst>
        <pc:spChg chg="mod">
          <ac:chgData name="Chunyen Li (李 俊諺)" userId="40660eec-0f7d-4f76-820a-6b6c2202dd67" providerId="ADAL" clId="{BFF7D067-EF6C-45E0-A6DE-19D0DA41B8A1}" dt="2026-07-16T06:35:10.814" v="3"/>
          <ac:spMkLst>
            <pc:docMk/>
            <pc:sldMk cId="1013319418" sldId="384"/>
            <ac:spMk id="2" creationId="{BF5966E1-3A7C-5357-79C5-FFEDAC76D88A}"/>
          </ac:spMkLst>
        </pc:spChg>
        <pc:spChg chg="mod">
          <ac:chgData name="Chunyen Li (李 俊諺)" userId="40660eec-0f7d-4f76-820a-6b6c2202dd67" providerId="ADAL" clId="{BFF7D067-EF6C-45E0-A6DE-19D0DA41B8A1}" dt="2026-07-16T06:35:10.814" v="3"/>
          <ac:spMkLst>
            <pc:docMk/>
            <pc:sldMk cId="1013319418" sldId="384"/>
            <ac:spMk id="3" creationId="{405F82E0-A58B-1227-4A45-5422F52E759A}"/>
          </ac:spMkLst>
        </pc:spChg>
        <pc:spChg chg="mod">
          <ac:chgData name="Chunyen Li (李 俊諺)" userId="40660eec-0f7d-4f76-820a-6b6c2202dd67" providerId="ADAL" clId="{BFF7D067-EF6C-45E0-A6DE-19D0DA41B8A1}" dt="2026-07-16T06:35:10.814" v="3"/>
          <ac:spMkLst>
            <pc:docMk/>
            <pc:sldMk cId="1013319418" sldId="384"/>
            <ac:spMk id="6" creationId="{84DC117A-4A73-1C62-5698-D8FF427D100F}"/>
          </ac:spMkLst>
        </pc:spChg>
        <pc:spChg chg="mod">
          <ac:chgData name="Chunyen Li (李 俊諺)" userId="40660eec-0f7d-4f76-820a-6b6c2202dd67" providerId="ADAL" clId="{BFF7D067-EF6C-45E0-A6DE-19D0DA41B8A1}" dt="2026-07-16T06:35:10.814" v="3"/>
          <ac:spMkLst>
            <pc:docMk/>
            <pc:sldMk cId="1013319418" sldId="384"/>
            <ac:spMk id="199" creationId="{16F8BDA0-C9D2-61D7-B0C8-3A4BD8879388}"/>
          </ac:spMkLst>
        </pc:spChg>
      </pc:sldChg>
      <pc:sldChg chg="modSp">
        <pc:chgData name="Chunyen Li (李 俊諺)" userId="40660eec-0f7d-4f76-820a-6b6c2202dd67" providerId="ADAL" clId="{BFF7D067-EF6C-45E0-A6DE-19D0DA41B8A1}" dt="2026-07-16T06:35:10.814" v="3"/>
        <pc:sldMkLst>
          <pc:docMk/>
          <pc:sldMk cId="3101293579" sldId="385"/>
        </pc:sldMkLst>
        <pc:spChg chg="mod">
          <ac:chgData name="Chunyen Li (李 俊諺)" userId="40660eec-0f7d-4f76-820a-6b6c2202dd67" providerId="ADAL" clId="{BFF7D067-EF6C-45E0-A6DE-19D0DA41B8A1}" dt="2026-07-16T06:35:10.814" v="3"/>
          <ac:spMkLst>
            <pc:docMk/>
            <pc:sldMk cId="3101293579" sldId="385"/>
            <ac:spMk id="2" creationId="{A31B7945-62D9-5562-AB3A-CFC5F26EE24F}"/>
          </ac:spMkLst>
        </pc:spChg>
      </pc:sldChg>
      <pc:sldChg chg="modSp modNotes">
        <pc:chgData name="Chunyen Li (李 俊諺)" userId="40660eec-0f7d-4f76-820a-6b6c2202dd67" providerId="ADAL" clId="{BFF7D067-EF6C-45E0-A6DE-19D0DA41B8A1}" dt="2026-07-16T06:35:10.814" v="3"/>
        <pc:sldMkLst>
          <pc:docMk/>
          <pc:sldMk cId="3828079754" sldId="386"/>
        </pc:sldMkLst>
        <pc:spChg chg="mod">
          <ac:chgData name="Chunyen Li (李 俊諺)" userId="40660eec-0f7d-4f76-820a-6b6c2202dd67" providerId="ADAL" clId="{BFF7D067-EF6C-45E0-A6DE-19D0DA41B8A1}" dt="2026-07-16T06:35:10.814" v="3"/>
          <ac:spMkLst>
            <pc:docMk/>
            <pc:sldMk cId="3828079754" sldId="386"/>
            <ac:spMk id="6" creationId="{1CB67AA0-E014-EBBD-5043-EED08AC034B6}"/>
          </ac:spMkLst>
        </pc:spChg>
        <pc:spChg chg="mod">
          <ac:chgData name="Chunyen Li (李 俊諺)" userId="40660eec-0f7d-4f76-820a-6b6c2202dd67" providerId="ADAL" clId="{BFF7D067-EF6C-45E0-A6DE-19D0DA41B8A1}" dt="2026-07-16T06:35:10.814" v="3"/>
          <ac:spMkLst>
            <pc:docMk/>
            <pc:sldMk cId="3828079754" sldId="386"/>
            <ac:spMk id="7" creationId="{3E1E32EB-EB51-927E-BC35-4DEEE076F8D5}"/>
          </ac:spMkLst>
        </pc:spChg>
        <pc:spChg chg="mod">
          <ac:chgData name="Chunyen Li (李 俊諺)" userId="40660eec-0f7d-4f76-820a-6b6c2202dd67" providerId="ADAL" clId="{BFF7D067-EF6C-45E0-A6DE-19D0DA41B8A1}" dt="2026-07-16T06:35:10.814" v="3"/>
          <ac:spMkLst>
            <pc:docMk/>
            <pc:sldMk cId="3828079754" sldId="386"/>
            <ac:spMk id="8" creationId="{27B76559-F7D7-7326-E3E8-D18C8215A97D}"/>
          </ac:spMkLst>
        </pc:spChg>
        <pc:spChg chg="mod">
          <ac:chgData name="Chunyen Li (李 俊諺)" userId="40660eec-0f7d-4f76-820a-6b6c2202dd67" providerId="ADAL" clId="{BFF7D067-EF6C-45E0-A6DE-19D0DA41B8A1}" dt="2026-07-16T06:35:10.814" v="3"/>
          <ac:spMkLst>
            <pc:docMk/>
            <pc:sldMk cId="3828079754" sldId="386"/>
            <ac:spMk id="18" creationId="{0B95838D-3BB4-ECA1-E657-EEDFBC83C46D}"/>
          </ac:spMkLst>
        </pc:spChg>
        <pc:spChg chg="mod">
          <ac:chgData name="Chunyen Li (李 俊諺)" userId="40660eec-0f7d-4f76-820a-6b6c2202dd67" providerId="ADAL" clId="{BFF7D067-EF6C-45E0-A6DE-19D0DA41B8A1}" dt="2026-07-16T06:35:10.814" v="3"/>
          <ac:spMkLst>
            <pc:docMk/>
            <pc:sldMk cId="3828079754" sldId="386"/>
            <ac:spMk id="20" creationId="{DE81E595-08BC-8082-209A-B285E3313750}"/>
          </ac:spMkLst>
        </pc:spChg>
        <pc:spChg chg="mod">
          <ac:chgData name="Chunyen Li (李 俊諺)" userId="40660eec-0f7d-4f76-820a-6b6c2202dd67" providerId="ADAL" clId="{BFF7D067-EF6C-45E0-A6DE-19D0DA41B8A1}" dt="2026-07-16T06:35:10.814" v="3"/>
          <ac:spMkLst>
            <pc:docMk/>
            <pc:sldMk cId="3828079754" sldId="386"/>
            <ac:spMk id="21" creationId="{67090907-E62E-3F82-E2AC-739907F6D6AB}"/>
          </ac:spMkLst>
        </pc:spChg>
        <pc:spChg chg="mod">
          <ac:chgData name="Chunyen Li (李 俊諺)" userId="40660eec-0f7d-4f76-820a-6b6c2202dd67" providerId="ADAL" clId="{BFF7D067-EF6C-45E0-A6DE-19D0DA41B8A1}" dt="2026-07-16T06:35:10.814" v="3"/>
          <ac:spMkLst>
            <pc:docMk/>
            <pc:sldMk cId="3828079754" sldId="386"/>
            <ac:spMk id="25" creationId="{F7FB6E82-8079-480D-358E-787F11618C9D}"/>
          </ac:spMkLst>
        </pc:spChg>
        <pc:spChg chg="mod">
          <ac:chgData name="Chunyen Li (李 俊諺)" userId="40660eec-0f7d-4f76-820a-6b6c2202dd67" providerId="ADAL" clId="{BFF7D067-EF6C-45E0-A6DE-19D0DA41B8A1}" dt="2026-07-16T06:35:10.814" v="3"/>
          <ac:spMkLst>
            <pc:docMk/>
            <pc:sldMk cId="3828079754" sldId="386"/>
            <ac:spMk id="26" creationId="{219BEC65-8BE2-697E-91FB-9332A3733489}"/>
          </ac:spMkLst>
        </pc:spChg>
        <pc:spChg chg="mod">
          <ac:chgData name="Chunyen Li (李 俊諺)" userId="40660eec-0f7d-4f76-820a-6b6c2202dd67" providerId="ADAL" clId="{BFF7D067-EF6C-45E0-A6DE-19D0DA41B8A1}" dt="2026-07-16T06:35:10.814" v="3"/>
          <ac:spMkLst>
            <pc:docMk/>
            <pc:sldMk cId="3828079754" sldId="386"/>
            <ac:spMk id="27" creationId="{FBD954C6-F699-B0A4-7842-C7A19EEA45BE}"/>
          </ac:spMkLst>
        </pc:spChg>
        <pc:spChg chg="mod">
          <ac:chgData name="Chunyen Li (李 俊諺)" userId="40660eec-0f7d-4f76-820a-6b6c2202dd67" providerId="ADAL" clId="{BFF7D067-EF6C-45E0-A6DE-19D0DA41B8A1}" dt="2026-07-16T06:35:10.814" v="3"/>
          <ac:spMkLst>
            <pc:docMk/>
            <pc:sldMk cId="3828079754" sldId="386"/>
            <ac:spMk id="31" creationId="{2351E612-5B95-DCAA-9E01-07490023DD76}"/>
          </ac:spMkLst>
        </pc:spChg>
      </pc:sldChg>
      <pc:sldChg chg="modSp">
        <pc:chgData name="Chunyen Li (李 俊諺)" userId="40660eec-0f7d-4f76-820a-6b6c2202dd67" providerId="ADAL" clId="{BFF7D067-EF6C-45E0-A6DE-19D0DA41B8A1}" dt="2026-07-16T06:35:10.814" v="3"/>
        <pc:sldMkLst>
          <pc:docMk/>
          <pc:sldMk cId="742048025" sldId="387"/>
        </pc:sldMkLst>
        <pc:spChg chg="mod">
          <ac:chgData name="Chunyen Li (李 俊諺)" userId="40660eec-0f7d-4f76-820a-6b6c2202dd67" providerId="ADAL" clId="{BFF7D067-EF6C-45E0-A6DE-19D0DA41B8A1}" dt="2026-07-16T06:35:10.814" v="3"/>
          <ac:spMkLst>
            <pc:docMk/>
            <pc:sldMk cId="742048025" sldId="387"/>
            <ac:spMk id="2" creationId="{86156C49-FDAC-A68E-703B-4AE7EAC3EA94}"/>
          </ac:spMkLst>
        </pc:spChg>
        <pc:spChg chg="mod">
          <ac:chgData name="Chunyen Li (李 俊諺)" userId="40660eec-0f7d-4f76-820a-6b6c2202dd67" providerId="ADAL" clId="{BFF7D067-EF6C-45E0-A6DE-19D0DA41B8A1}" dt="2026-07-16T06:35:10.814" v="3"/>
          <ac:spMkLst>
            <pc:docMk/>
            <pc:sldMk cId="742048025" sldId="387"/>
            <ac:spMk id="199" creationId="{600781DD-152B-7CCC-C5F7-E2E9F1367CD6}"/>
          </ac:spMkLst>
        </pc:spChg>
      </pc:sldChg>
      <pc:sldChg chg="modSp">
        <pc:chgData name="Chunyen Li (李 俊諺)" userId="40660eec-0f7d-4f76-820a-6b6c2202dd67" providerId="ADAL" clId="{BFF7D067-EF6C-45E0-A6DE-19D0DA41B8A1}" dt="2026-07-16T06:35:10.814" v="3"/>
        <pc:sldMkLst>
          <pc:docMk/>
          <pc:sldMk cId="1923503520" sldId="390"/>
        </pc:sldMkLst>
        <pc:spChg chg="mod">
          <ac:chgData name="Chunyen Li (李 俊諺)" userId="40660eec-0f7d-4f76-820a-6b6c2202dd67" providerId="ADAL" clId="{BFF7D067-EF6C-45E0-A6DE-19D0DA41B8A1}" dt="2026-07-16T06:35:10.814" v="3"/>
          <ac:spMkLst>
            <pc:docMk/>
            <pc:sldMk cId="1923503520" sldId="390"/>
            <ac:spMk id="6" creationId="{5CF8ABDB-517D-5F46-9FCE-C0DC214234EE}"/>
          </ac:spMkLst>
        </pc:spChg>
        <pc:spChg chg="mod">
          <ac:chgData name="Chunyen Li (李 俊諺)" userId="40660eec-0f7d-4f76-820a-6b6c2202dd67" providerId="ADAL" clId="{BFF7D067-EF6C-45E0-A6DE-19D0DA41B8A1}" dt="2026-07-16T06:35:10.814" v="3"/>
          <ac:spMkLst>
            <pc:docMk/>
            <pc:sldMk cId="1923503520" sldId="390"/>
            <ac:spMk id="15" creationId="{ADCAF7B5-0CBC-095E-1273-DE67B16AA58A}"/>
          </ac:spMkLst>
        </pc:spChg>
        <pc:spChg chg="mod">
          <ac:chgData name="Chunyen Li (李 俊諺)" userId="40660eec-0f7d-4f76-820a-6b6c2202dd67" providerId="ADAL" clId="{BFF7D067-EF6C-45E0-A6DE-19D0DA41B8A1}" dt="2026-07-16T06:35:10.814" v="3"/>
          <ac:spMkLst>
            <pc:docMk/>
            <pc:sldMk cId="1923503520" sldId="390"/>
            <ac:spMk id="16" creationId="{4AD40CA0-F134-84AA-F7B5-EBCD76E2C7D4}"/>
          </ac:spMkLst>
        </pc:spChg>
        <pc:graphicFrameChg chg="mod">
          <ac:chgData name="Chunyen Li (李 俊諺)" userId="40660eec-0f7d-4f76-820a-6b6c2202dd67" providerId="ADAL" clId="{BFF7D067-EF6C-45E0-A6DE-19D0DA41B8A1}" dt="2026-07-16T06:35:10.814" v="3"/>
          <ac:graphicFrameMkLst>
            <pc:docMk/>
            <pc:sldMk cId="1923503520" sldId="390"/>
            <ac:graphicFrameMk id="2" creationId="{82245245-4F4D-9C07-CADA-AD61F43EDA2F}"/>
          </ac:graphicFrameMkLst>
        </pc:graphicFrameChg>
        <pc:picChg chg="mod">
          <ac:chgData name="Chunyen Li (李 俊諺)" userId="40660eec-0f7d-4f76-820a-6b6c2202dd67" providerId="ADAL" clId="{BFF7D067-EF6C-45E0-A6DE-19D0DA41B8A1}" dt="2026-07-16T06:35:10.814" v="3"/>
          <ac:picMkLst>
            <pc:docMk/>
            <pc:sldMk cId="1923503520" sldId="390"/>
            <ac:picMk id="4" creationId="{3AD11E46-17B8-1396-3DD2-E9AB19603AF2}"/>
          </ac:picMkLst>
        </pc:picChg>
        <pc:cxnChg chg="mod">
          <ac:chgData name="Chunyen Li (李 俊諺)" userId="40660eec-0f7d-4f76-820a-6b6c2202dd67" providerId="ADAL" clId="{BFF7D067-EF6C-45E0-A6DE-19D0DA41B8A1}" dt="2026-07-16T06:35:10.814" v="3"/>
          <ac:cxnSpMkLst>
            <pc:docMk/>
            <pc:sldMk cId="1923503520" sldId="390"/>
            <ac:cxnSpMk id="17" creationId="{2A0AB95B-115D-ECE0-119B-BED0A53D3C25}"/>
          </ac:cxnSpMkLst>
        </pc:cxnChg>
      </pc:sldChg>
      <pc:sldChg chg="addSp modSp">
        <pc:chgData name="Chunyen Li (李 俊諺)" userId="40660eec-0f7d-4f76-820a-6b6c2202dd67" providerId="ADAL" clId="{BFF7D067-EF6C-45E0-A6DE-19D0DA41B8A1}" dt="2026-07-16T07:35:06.660" v="24"/>
        <pc:sldMkLst>
          <pc:docMk/>
          <pc:sldMk cId="761514538" sldId="391"/>
        </pc:sldMkLst>
        <pc:spChg chg="mod">
          <ac:chgData name="Chunyen Li (李 俊諺)" userId="40660eec-0f7d-4f76-820a-6b6c2202dd67" providerId="ADAL" clId="{BFF7D067-EF6C-45E0-A6DE-19D0DA41B8A1}" dt="2026-07-16T06:48:51.926" v="9"/>
          <ac:spMkLst>
            <pc:docMk/>
            <pc:sldMk cId="761514538" sldId="391"/>
            <ac:spMk id="2" creationId="{CE0BEB85-E166-8903-6F2D-1834271BA0A1}"/>
          </ac:spMkLst>
        </pc:spChg>
        <pc:spChg chg="add mod">
          <ac:chgData name="Chunyen Li (李 俊諺)" userId="40660eec-0f7d-4f76-820a-6b6c2202dd67" providerId="ADAL" clId="{BFF7D067-EF6C-45E0-A6DE-19D0DA41B8A1}" dt="2026-07-16T07:13:16.633" v="17"/>
          <ac:spMkLst>
            <pc:docMk/>
            <pc:sldMk cId="761514538" sldId="391"/>
            <ac:spMk id="14" creationId="{E0B3AD04-9129-7F36-17E3-C917A7B7E503}"/>
          </ac:spMkLst>
        </pc:spChg>
        <pc:spChg chg="add mod">
          <ac:chgData name="Chunyen Li (李 俊諺)" userId="40660eec-0f7d-4f76-820a-6b6c2202dd67" providerId="ADAL" clId="{BFF7D067-EF6C-45E0-A6DE-19D0DA41B8A1}" dt="2026-07-16T07:00:46.882" v="13"/>
          <ac:spMkLst>
            <pc:docMk/>
            <pc:sldMk cId="761514538" sldId="391"/>
            <ac:spMk id="17" creationId="{CAA6D9A9-73BE-FD5F-6875-96C85E16D144}"/>
          </ac:spMkLst>
        </pc:spChg>
        <pc:spChg chg="add mod">
          <ac:chgData name="Chunyen Li (李 俊諺)" userId="40660eec-0f7d-4f76-820a-6b6c2202dd67" providerId="ADAL" clId="{BFF7D067-EF6C-45E0-A6DE-19D0DA41B8A1}" dt="2026-07-16T07:00:46.882" v="13"/>
          <ac:spMkLst>
            <pc:docMk/>
            <pc:sldMk cId="761514538" sldId="391"/>
            <ac:spMk id="19" creationId="{5BB4675D-1C9A-8A49-AAC1-315CC13F404C}"/>
          </ac:spMkLst>
        </pc:spChg>
        <pc:spChg chg="add mod">
          <ac:chgData name="Chunyen Li (李 俊諺)" userId="40660eec-0f7d-4f76-820a-6b6c2202dd67" providerId="ADAL" clId="{BFF7D067-EF6C-45E0-A6DE-19D0DA41B8A1}" dt="2026-07-16T07:07:04.307" v="16"/>
          <ac:spMkLst>
            <pc:docMk/>
            <pc:sldMk cId="761514538" sldId="391"/>
            <ac:spMk id="22" creationId="{284A24F4-EFDA-0AEA-30C7-A702058CCC7F}"/>
          </ac:spMkLst>
        </pc:spChg>
        <pc:spChg chg="add mod">
          <ac:chgData name="Chunyen Li (李 俊諺)" userId="40660eec-0f7d-4f76-820a-6b6c2202dd67" providerId="ADAL" clId="{BFF7D067-EF6C-45E0-A6DE-19D0DA41B8A1}" dt="2026-07-16T07:18:50.025" v="18"/>
          <ac:spMkLst>
            <pc:docMk/>
            <pc:sldMk cId="761514538" sldId="391"/>
            <ac:spMk id="25" creationId="{B96B18D7-C364-4A7E-61EC-2D68198B62E7}"/>
          </ac:spMkLst>
        </pc:spChg>
        <pc:spChg chg="add mod">
          <ac:chgData name="Chunyen Li (李 俊諺)" userId="40660eec-0f7d-4f76-820a-6b6c2202dd67" providerId="ADAL" clId="{BFF7D067-EF6C-45E0-A6DE-19D0DA41B8A1}" dt="2026-07-16T07:19:37.657" v="19"/>
          <ac:spMkLst>
            <pc:docMk/>
            <pc:sldMk cId="761514538" sldId="391"/>
            <ac:spMk id="26" creationId="{CA9BC1DF-F5B2-054F-22A2-D04D17A92314}"/>
          </ac:spMkLst>
        </pc:spChg>
        <pc:spChg chg="add mod">
          <ac:chgData name="Chunyen Li (李 俊諺)" userId="40660eec-0f7d-4f76-820a-6b6c2202dd67" providerId="ADAL" clId="{BFF7D067-EF6C-45E0-A6DE-19D0DA41B8A1}" dt="2026-07-16T07:35:06.660" v="24"/>
          <ac:spMkLst>
            <pc:docMk/>
            <pc:sldMk cId="761514538" sldId="391"/>
            <ac:spMk id="27" creationId="{58DC096D-B6FF-96DF-0697-8534A72E09F8}"/>
          </ac:spMkLst>
        </pc:spChg>
        <pc:picChg chg="add mod">
          <ac:chgData name="Chunyen Li (李 俊諺)" userId="40660eec-0f7d-4f76-820a-6b6c2202dd67" providerId="ADAL" clId="{BFF7D067-EF6C-45E0-A6DE-19D0DA41B8A1}" dt="2026-07-16T06:42:08.740" v="4"/>
          <ac:picMkLst>
            <pc:docMk/>
            <pc:sldMk cId="761514538" sldId="391"/>
            <ac:picMk id="11" creationId="{20F0A8E0-8E4A-3BA5-7786-EFF0549E3D0B}"/>
          </ac:picMkLst>
        </pc:picChg>
        <pc:picChg chg="add mod">
          <ac:chgData name="Chunyen Li (李 俊諺)" userId="40660eec-0f7d-4f76-820a-6b6c2202dd67" providerId="ADAL" clId="{BFF7D067-EF6C-45E0-A6DE-19D0DA41B8A1}" dt="2026-07-16T06:59:13.817" v="12"/>
          <ac:picMkLst>
            <pc:docMk/>
            <pc:sldMk cId="761514538" sldId="391"/>
            <ac:picMk id="16" creationId="{6F6A9BD8-CCD4-9075-2690-FC98562265A5}"/>
          </ac:picMkLst>
        </pc:picChg>
        <pc:cxnChg chg="add mod">
          <ac:chgData name="Chunyen Li (李 俊諺)" userId="40660eec-0f7d-4f76-820a-6b6c2202dd67" providerId="ADAL" clId="{BFF7D067-EF6C-45E0-A6DE-19D0DA41B8A1}" dt="2026-07-16T07:00:46.882" v="13"/>
          <ac:cxnSpMkLst>
            <pc:docMk/>
            <pc:sldMk cId="761514538" sldId="391"/>
            <ac:cxnSpMk id="18" creationId="{EC9C0661-9560-8292-D618-F2A30E1E0F7A}"/>
          </ac:cxnSpMkLst>
        </pc:cxnChg>
        <pc:cxnChg chg="add mod">
          <ac:chgData name="Chunyen Li (李 俊諺)" userId="40660eec-0f7d-4f76-820a-6b6c2202dd67" providerId="ADAL" clId="{BFF7D067-EF6C-45E0-A6DE-19D0DA41B8A1}" dt="2026-07-16T07:00:46.882" v="13"/>
          <ac:cxnSpMkLst>
            <pc:docMk/>
            <pc:sldMk cId="761514538" sldId="391"/>
            <ac:cxnSpMk id="20" creationId="{4BBC319A-0511-8959-32A9-8BD593CC65C5}"/>
          </ac:cxnSpMkLst>
        </pc:cxnChg>
      </pc:sldChg>
      <pc:sldChg chg="addSp modSp add">
        <pc:chgData name="Chunyen Li (李 俊諺)" userId="40660eec-0f7d-4f76-820a-6b6c2202dd67" providerId="ADAL" clId="{BFF7D067-EF6C-45E0-A6DE-19D0DA41B8A1}" dt="2026-07-16T08:49:49.851" v="72"/>
        <pc:sldMkLst>
          <pc:docMk/>
          <pc:sldMk cId="933984980" sldId="392"/>
        </pc:sldMkLst>
        <pc:spChg chg="mod">
          <ac:chgData name="Chunyen Li (李 俊諺)" userId="40660eec-0f7d-4f76-820a-6b6c2202dd67" providerId="ADAL" clId="{BFF7D067-EF6C-45E0-A6DE-19D0DA41B8A1}" dt="2026-07-16T07:44:52.520" v="27"/>
          <ac:spMkLst>
            <pc:docMk/>
            <pc:sldMk cId="933984980" sldId="392"/>
            <ac:spMk id="2" creationId="{04FEC333-FF3B-CFF3-399B-502801B0B516}"/>
          </ac:spMkLst>
        </pc:spChg>
        <pc:spChg chg="add mod">
          <ac:chgData name="Chunyen Li (李 俊諺)" userId="40660eec-0f7d-4f76-820a-6b6c2202dd67" providerId="ADAL" clId="{BFF7D067-EF6C-45E0-A6DE-19D0DA41B8A1}" dt="2026-07-16T08:12:47.863" v="33"/>
          <ac:spMkLst>
            <pc:docMk/>
            <pc:sldMk cId="933984980" sldId="392"/>
            <ac:spMk id="12" creationId="{30B66B6B-DBDE-40EC-6B9D-44F85684B5C9}"/>
          </ac:spMkLst>
        </pc:spChg>
        <pc:spChg chg="mod">
          <ac:chgData name="Chunyen Li (李 俊諺)" userId="40660eec-0f7d-4f76-820a-6b6c2202dd67" providerId="ADAL" clId="{BFF7D067-EF6C-45E0-A6DE-19D0DA41B8A1}" dt="2026-07-16T08:39:53.395" v="60" actId="113"/>
          <ac:spMkLst>
            <pc:docMk/>
            <pc:sldMk cId="933984980" sldId="392"/>
            <ac:spMk id="14" creationId="{20435B8B-F8B0-9703-F610-E2208973B077}"/>
          </ac:spMkLst>
        </pc:spChg>
        <pc:spChg chg="add">
          <ac:chgData name="Chunyen Li (李 俊諺)" userId="40660eec-0f7d-4f76-820a-6b6c2202dd67" providerId="ADAL" clId="{BFF7D067-EF6C-45E0-A6DE-19D0DA41B8A1}" dt="2026-07-16T08:37:40.358" v="58"/>
          <ac:spMkLst>
            <pc:docMk/>
            <pc:sldMk cId="933984980" sldId="392"/>
            <ac:spMk id="45" creationId="{01B30D2A-5BB0-DDC7-12AA-882C48D72A25}"/>
          </ac:spMkLst>
        </pc:spChg>
        <pc:spChg chg="add mod">
          <ac:chgData name="Chunyen Li (李 俊諺)" userId="40660eec-0f7d-4f76-820a-6b6c2202dd67" providerId="ADAL" clId="{BFF7D067-EF6C-45E0-A6DE-19D0DA41B8A1}" dt="2026-07-16T08:38:01.365" v="59"/>
          <ac:spMkLst>
            <pc:docMk/>
            <pc:sldMk cId="933984980" sldId="392"/>
            <ac:spMk id="46" creationId="{267B7959-543B-FC89-24B7-C91D4BA4F9B6}"/>
          </ac:spMkLst>
        </pc:spChg>
        <pc:spChg chg="add">
          <ac:chgData name="Chunyen Li (李 俊諺)" userId="40660eec-0f7d-4f76-820a-6b6c2202dd67" providerId="ADAL" clId="{BFF7D067-EF6C-45E0-A6DE-19D0DA41B8A1}" dt="2026-07-16T08:44:19.038" v="61"/>
          <ac:spMkLst>
            <pc:docMk/>
            <pc:sldMk cId="933984980" sldId="392"/>
            <ac:spMk id="57" creationId="{B073637B-3DE9-AD04-643E-BADF0DA37FDC}"/>
          </ac:spMkLst>
        </pc:spChg>
        <pc:spChg chg="add mod">
          <ac:chgData name="Chunyen Li (李 俊諺)" userId="40660eec-0f7d-4f76-820a-6b6c2202dd67" providerId="ADAL" clId="{BFF7D067-EF6C-45E0-A6DE-19D0DA41B8A1}" dt="2026-07-16T08:45:13.015" v="63" actId="20578"/>
          <ac:spMkLst>
            <pc:docMk/>
            <pc:sldMk cId="933984980" sldId="392"/>
            <ac:spMk id="58" creationId="{5B3097AC-C4E6-522B-282C-6543A66AEB63}"/>
          </ac:spMkLst>
        </pc:spChg>
        <pc:spChg chg="add mod">
          <ac:chgData name="Chunyen Li (李 俊諺)" userId="40660eec-0f7d-4f76-820a-6b6c2202dd67" providerId="ADAL" clId="{BFF7D067-EF6C-45E0-A6DE-19D0DA41B8A1}" dt="2026-07-16T08:45:52.228" v="64"/>
          <ac:spMkLst>
            <pc:docMk/>
            <pc:sldMk cId="933984980" sldId="392"/>
            <ac:spMk id="59" creationId="{167B0D16-2DB0-5571-2F2E-5FE698A4ED73}"/>
          </ac:spMkLst>
        </pc:spChg>
        <pc:spChg chg="add mod">
          <ac:chgData name="Chunyen Li (李 俊諺)" userId="40660eec-0f7d-4f76-820a-6b6c2202dd67" providerId="ADAL" clId="{BFF7D067-EF6C-45E0-A6DE-19D0DA41B8A1}" dt="2026-07-16T08:45:52.228" v="64"/>
          <ac:spMkLst>
            <pc:docMk/>
            <pc:sldMk cId="933984980" sldId="392"/>
            <ac:spMk id="60" creationId="{F1DDE659-9DE1-6AF7-2BB8-9E045DF835BB}"/>
          </ac:spMkLst>
        </pc:spChg>
        <pc:spChg chg="add mod">
          <ac:chgData name="Chunyen Li (李 俊諺)" userId="40660eec-0f7d-4f76-820a-6b6c2202dd67" providerId="ADAL" clId="{BFF7D067-EF6C-45E0-A6DE-19D0DA41B8A1}" dt="2026-07-16T08:48:37.433" v="70" actId="2711"/>
          <ac:spMkLst>
            <pc:docMk/>
            <pc:sldMk cId="933984980" sldId="392"/>
            <ac:spMk id="63" creationId="{A57384ED-092A-D802-F109-EA0E7B79F9C4}"/>
          </ac:spMkLst>
        </pc:spChg>
        <pc:spChg chg="add">
          <ac:chgData name="Chunyen Li (李 俊諺)" userId="40660eec-0f7d-4f76-820a-6b6c2202dd67" providerId="ADAL" clId="{BFF7D067-EF6C-45E0-A6DE-19D0DA41B8A1}" dt="2026-07-16T08:49:25.597" v="71"/>
          <ac:spMkLst>
            <pc:docMk/>
            <pc:sldMk cId="933984980" sldId="392"/>
            <ac:spMk id="65" creationId="{DFAF0AB7-C7ED-A95B-C168-876011D6A584}"/>
          </ac:spMkLst>
        </pc:spChg>
        <pc:spChg chg="add mod">
          <ac:chgData name="Chunyen Li (李 俊諺)" userId="40660eec-0f7d-4f76-820a-6b6c2202dd67" providerId="ADAL" clId="{BFF7D067-EF6C-45E0-A6DE-19D0DA41B8A1}" dt="2026-07-16T08:49:49.851" v="72"/>
          <ac:spMkLst>
            <pc:docMk/>
            <pc:sldMk cId="933984980" sldId="392"/>
            <ac:spMk id="66" creationId="{D043B500-5BCC-8CF5-7CCD-55014ED5F43F}"/>
          </ac:spMkLst>
        </pc:spChg>
        <pc:picChg chg="add">
          <ac:chgData name="Chunyen Li (李 俊諺)" userId="40660eec-0f7d-4f76-820a-6b6c2202dd67" providerId="ADAL" clId="{BFF7D067-EF6C-45E0-A6DE-19D0DA41B8A1}" dt="2026-07-16T07:47:44.968" v="28"/>
          <ac:picMkLst>
            <pc:docMk/>
            <pc:sldMk cId="933984980" sldId="392"/>
            <ac:picMk id="6" creationId="{7AD0783B-7546-947A-355A-E49C66742CCA}"/>
          </ac:picMkLst>
        </pc:picChg>
        <pc:picChg chg="add mod">
          <ac:chgData name="Chunyen Li (李 俊諺)" userId="40660eec-0f7d-4f76-820a-6b6c2202dd67" providerId="ADAL" clId="{BFF7D067-EF6C-45E0-A6DE-19D0DA41B8A1}" dt="2026-07-16T08:22:57.617" v="36"/>
          <ac:picMkLst>
            <pc:docMk/>
            <pc:sldMk cId="933984980" sldId="392"/>
            <ac:picMk id="40" creationId="{8844D1CF-72F7-5F8D-1E8E-FEF574E06693}"/>
          </ac:picMkLst>
        </pc:picChg>
        <pc:picChg chg="add mod">
          <ac:chgData name="Chunyen Li (李 俊諺)" userId="40660eec-0f7d-4f76-820a-6b6c2202dd67" providerId="ADAL" clId="{BFF7D067-EF6C-45E0-A6DE-19D0DA41B8A1}" dt="2026-07-16T08:25:06.936" v="37"/>
          <ac:picMkLst>
            <pc:docMk/>
            <pc:sldMk cId="933984980" sldId="392"/>
            <ac:picMk id="42" creationId="{39863FDE-F837-A0E0-EC07-85C4826BB0C9}"/>
          </ac:picMkLst>
        </pc:picChg>
        <pc:cxnChg chg="add mod">
          <ac:chgData name="Chunyen Li (李 俊諺)" userId="40660eec-0f7d-4f76-820a-6b6c2202dd67" providerId="ADAL" clId="{BFF7D067-EF6C-45E0-A6DE-19D0DA41B8A1}" dt="2026-07-16T08:21:49.339" v="35"/>
          <ac:cxnSpMkLst>
            <pc:docMk/>
            <pc:sldMk cId="933984980" sldId="392"/>
            <ac:cxnSpMk id="31" creationId="{BC077DB8-4740-893A-8943-F3621E387896}"/>
          </ac:cxnSpMkLst>
        </pc:cxnChg>
      </pc:sldChg>
      <pc:sldMasterChg chg="modSp modSldLayout">
        <pc:chgData name="Chunyen Li (李 俊諺)" userId="40660eec-0f7d-4f76-820a-6b6c2202dd67" providerId="ADAL" clId="{BFF7D067-EF6C-45E0-A6DE-19D0DA41B8A1}" dt="2026-07-16T06:35:10.814" v="3"/>
        <pc:sldMasterMkLst>
          <pc:docMk/>
          <pc:sldMasterMk cId="2620355282" sldId="2147483656"/>
        </pc:sldMasterMkLst>
        <pc:spChg chg="mod">
          <ac:chgData name="Chunyen Li (李 俊諺)" userId="40660eec-0f7d-4f76-820a-6b6c2202dd67" providerId="ADAL" clId="{BFF7D067-EF6C-45E0-A6DE-19D0DA41B8A1}" dt="2026-07-16T06:35:10.814" v="3"/>
          <ac:spMkLst>
            <pc:docMk/>
            <pc:sldMasterMk cId="2620355282" sldId="2147483656"/>
            <ac:spMk id="6" creationId="{3440F440-ADE6-41E3-A456-AF062FB7F88D}"/>
          </ac:spMkLst>
        </pc:spChg>
        <pc:spChg chg="mod">
          <ac:chgData name="Chunyen Li (李 俊諺)" userId="40660eec-0f7d-4f76-820a-6b6c2202dd67" providerId="ADAL" clId="{BFF7D067-EF6C-45E0-A6DE-19D0DA41B8A1}" dt="2026-07-16T06:35:10.814" v="3"/>
          <ac:spMkLst>
            <pc:docMk/>
            <pc:sldMasterMk cId="2620355282" sldId="2147483656"/>
            <ac:spMk id="23" creationId="{B645968D-841B-4C74-BB23-AF28AEC95143}"/>
          </ac:spMkLst>
        </pc:spChg>
        <pc:spChg chg="mod">
          <ac:chgData name="Chunyen Li (李 俊諺)" userId="40660eec-0f7d-4f76-820a-6b6c2202dd67" providerId="ADAL" clId="{BFF7D067-EF6C-45E0-A6DE-19D0DA41B8A1}" dt="2026-07-16T06:35:10.814" v="3"/>
          <ac:spMkLst>
            <pc:docMk/>
            <pc:sldMasterMk cId="2620355282" sldId="2147483656"/>
            <ac:spMk id="1026"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ac:spMk id="1027" creationId="{00000000-0000-0000-0000-000000000000}"/>
          </ac:spMkLst>
        </pc:spChg>
        <pc:grpChg chg="mod">
          <ac:chgData name="Chunyen Li (李 俊諺)" userId="40660eec-0f7d-4f76-820a-6b6c2202dd67" providerId="ADAL" clId="{BFF7D067-EF6C-45E0-A6DE-19D0DA41B8A1}" dt="2026-07-16T06:35:10.814" v="3"/>
          <ac:grpSpMkLst>
            <pc:docMk/>
            <pc:sldMasterMk cId="2620355282" sldId="2147483656"/>
            <ac:grpSpMk id="11" creationId="{12FB05A7-1E07-45A8-B695-F5410490AECB}"/>
          </ac:grpSpMkLst>
        </pc:grpChg>
        <pc:graphicFrameChg chg="mod">
          <ac:chgData name="Chunyen Li (李 俊諺)" userId="40660eec-0f7d-4f76-820a-6b6c2202dd67" providerId="ADAL" clId="{BFF7D067-EF6C-45E0-A6DE-19D0DA41B8A1}" dt="2026-07-16T06:35:10.814" v="3"/>
          <ac:graphicFrameMkLst>
            <pc:docMk/>
            <pc:sldMasterMk cId="2620355282" sldId="2147483656"/>
            <ac:graphicFrameMk id="7" creationId="{63CC2770-6CAA-4391-B269-187D7EF57FB3}"/>
          </ac:graphicFrameMkLst>
        </pc:graphicFrameChg>
        <pc:picChg chg="mod">
          <ac:chgData name="Chunyen Li (李 俊諺)" userId="40660eec-0f7d-4f76-820a-6b6c2202dd67" providerId="ADAL" clId="{BFF7D067-EF6C-45E0-A6DE-19D0DA41B8A1}" dt="2026-07-16T06:35:10.814" v="3"/>
          <ac:picMkLst>
            <pc:docMk/>
            <pc:sldMasterMk cId="2620355282" sldId="2147483656"/>
            <ac:picMk id="12" creationId="{DF17E390-7EE6-44D7-B48D-142174ABC5D4}"/>
          </ac:picMkLst>
        </pc:picChg>
        <pc:picChg chg="mod">
          <ac:chgData name="Chunyen Li (李 俊諺)" userId="40660eec-0f7d-4f76-820a-6b6c2202dd67" providerId="ADAL" clId="{BFF7D067-EF6C-45E0-A6DE-19D0DA41B8A1}" dt="2026-07-16T06:35:10.814" v="3"/>
          <ac:picMkLst>
            <pc:docMk/>
            <pc:sldMasterMk cId="2620355282" sldId="2147483656"/>
            <ac:picMk id="14" creationId="{F4BD9CB8-2F56-43B8-B548-70C011E2CDB5}"/>
          </ac:picMkLst>
        </pc:picChg>
        <pc:picChg chg="mod">
          <ac:chgData name="Chunyen Li (李 俊諺)" userId="40660eec-0f7d-4f76-820a-6b6c2202dd67" providerId="ADAL" clId="{BFF7D067-EF6C-45E0-A6DE-19D0DA41B8A1}" dt="2026-07-16T06:35:10.814" v="3"/>
          <ac:picMkLst>
            <pc:docMk/>
            <pc:sldMasterMk cId="2620355282" sldId="2147483656"/>
            <ac:picMk id="15" creationId="{050A220C-4E3D-4151-8741-99D3ADFFF7CF}"/>
          </ac:picMkLst>
        </pc:picChg>
        <pc:picChg chg="mod">
          <ac:chgData name="Chunyen Li (李 俊諺)" userId="40660eec-0f7d-4f76-820a-6b6c2202dd67" providerId="ADAL" clId="{BFF7D067-EF6C-45E0-A6DE-19D0DA41B8A1}" dt="2026-07-16T06:35:10.814" v="3"/>
          <ac:picMkLst>
            <pc:docMk/>
            <pc:sldMasterMk cId="2620355282" sldId="2147483656"/>
            <ac:picMk id="16" creationId="{98530D01-5657-493B-B6A4-BF37406DBA79}"/>
          </ac:picMkLst>
        </pc:picChg>
        <pc:sldLayoutChg chg="modSp">
          <pc:chgData name="Chunyen Li (李 俊諺)" userId="40660eec-0f7d-4f76-820a-6b6c2202dd67" providerId="ADAL" clId="{BFF7D067-EF6C-45E0-A6DE-19D0DA41B8A1}" dt="2026-07-16T06:35:10.814" v="3"/>
          <pc:sldLayoutMkLst>
            <pc:docMk/>
            <pc:sldMasterMk cId="2620355282" sldId="2147483656"/>
            <pc:sldLayoutMk cId="2169882639" sldId="2147483658"/>
          </pc:sldLayoutMkLst>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2"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3"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4" creationId="{F83D3DEB-0D07-40CB-8FD6-719417EFB5BD}"/>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11" creationId="{6C1633A3-41CC-4C11-8B3C-FED4B77DB9FC}"/>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13" creationId="{7B43D4A4-9D9D-4FCE-8540-8FD496759497}"/>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16" creationId="{DBB84BA7-E9EC-408F-B46A-3AF7828C65C2}"/>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17" creationId="{C199ABAD-6C84-420B-A409-F715B4346D69}"/>
            </ac:spMkLst>
          </pc:spChg>
          <pc:spChg chg="mod">
            <ac:chgData name="Chunyen Li (李 俊諺)" userId="40660eec-0f7d-4f76-820a-6b6c2202dd67" providerId="ADAL" clId="{BFF7D067-EF6C-45E0-A6DE-19D0DA41B8A1}" dt="2026-07-16T06:35:10.814" v="3"/>
            <ac:spMkLst>
              <pc:docMk/>
              <pc:sldMasterMk cId="2620355282" sldId="2147483656"/>
              <pc:sldLayoutMk cId="2169882639" sldId="2147483658"/>
              <ac:spMk id="27" creationId="{FBD886BD-EA26-4C38-B6C1-6183E7C05962}"/>
            </ac:spMkLst>
          </pc:spChg>
          <pc:graphicFrameChg chg="mod">
            <ac:chgData name="Chunyen Li (李 俊諺)" userId="40660eec-0f7d-4f76-820a-6b6c2202dd67" providerId="ADAL" clId="{BFF7D067-EF6C-45E0-A6DE-19D0DA41B8A1}" dt="2026-07-16T06:35:10.814" v="3"/>
            <ac:graphicFrameMkLst>
              <pc:docMk/>
              <pc:sldMasterMk cId="2620355282" sldId="2147483656"/>
              <pc:sldLayoutMk cId="2169882639" sldId="2147483658"/>
              <ac:graphicFrameMk id="6" creationId="{83A71F68-6513-415C-AD40-969E8BCEA238}"/>
            </ac:graphicFrameMkLst>
          </pc:graphicFrameChg>
          <pc:picChg chg="mod">
            <ac:chgData name="Chunyen Li (李 俊諺)" userId="40660eec-0f7d-4f76-820a-6b6c2202dd67" providerId="ADAL" clId="{BFF7D067-EF6C-45E0-A6DE-19D0DA41B8A1}" dt="2026-07-16T06:35:10.814" v="3"/>
            <ac:picMkLst>
              <pc:docMk/>
              <pc:sldMasterMk cId="2620355282" sldId="2147483656"/>
              <pc:sldLayoutMk cId="2169882639" sldId="2147483658"/>
              <ac:picMk id="12" creationId="{046A9D12-5B6A-4AEF-9FCC-0C8551F73D7B}"/>
            </ac:picMkLst>
          </pc:picChg>
        </pc:sldLayoutChg>
        <pc:sldLayoutChg chg="modSp">
          <pc:chgData name="Chunyen Li (李 俊諺)" userId="40660eec-0f7d-4f76-820a-6b6c2202dd67" providerId="ADAL" clId="{BFF7D067-EF6C-45E0-A6DE-19D0DA41B8A1}" dt="2026-07-16T06:35:10.814" v="3"/>
          <pc:sldLayoutMkLst>
            <pc:docMk/>
            <pc:sldMasterMk cId="2620355282" sldId="2147483656"/>
            <pc:sldLayoutMk cId="1066749056" sldId="2147483659"/>
          </pc:sldLayoutMkLst>
          <pc:spChg chg="mod">
            <ac:chgData name="Chunyen Li (李 俊諺)" userId="40660eec-0f7d-4f76-820a-6b6c2202dd67" providerId="ADAL" clId="{BFF7D067-EF6C-45E0-A6DE-19D0DA41B8A1}" dt="2026-07-16T06:35:10.814" v="3"/>
            <ac:spMkLst>
              <pc:docMk/>
              <pc:sldMasterMk cId="2620355282" sldId="2147483656"/>
              <pc:sldLayoutMk cId="1066749056" sldId="2147483659"/>
              <ac:spMk id="2"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1066749056" sldId="2147483659"/>
              <ac:spMk id="3"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1066749056" sldId="2147483659"/>
              <ac:spMk id="4" creationId="{F8960A0A-092B-4319-8185-3AAFB8C1F062}"/>
            </ac:spMkLst>
          </pc:spChg>
          <pc:spChg chg="mod">
            <ac:chgData name="Chunyen Li (李 俊諺)" userId="40660eec-0f7d-4f76-820a-6b6c2202dd67" providerId="ADAL" clId="{BFF7D067-EF6C-45E0-A6DE-19D0DA41B8A1}" dt="2026-07-16T06:35:10.814" v="3"/>
            <ac:spMkLst>
              <pc:docMk/>
              <pc:sldMasterMk cId="2620355282" sldId="2147483656"/>
              <pc:sldLayoutMk cId="1066749056" sldId="2147483659"/>
              <ac:spMk id="8" creationId="{547FA863-7A7D-4F05-9005-0B918C1D25D2}"/>
            </ac:spMkLst>
          </pc:spChg>
          <pc:graphicFrameChg chg="mod">
            <ac:chgData name="Chunyen Li (李 俊諺)" userId="40660eec-0f7d-4f76-820a-6b6c2202dd67" providerId="ADAL" clId="{BFF7D067-EF6C-45E0-A6DE-19D0DA41B8A1}" dt="2026-07-16T06:35:10.814" v="3"/>
            <ac:graphicFrameMkLst>
              <pc:docMk/>
              <pc:sldMasterMk cId="2620355282" sldId="2147483656"/>
              <pc:sldLayoutMk cId="1066749056" sldId="2147483659"/>
              <ac:graphicFrameMk id="6" creationId="{61133E61-B4FF-4268-AE06-99469B145BC5}"/>
            </ac:graphicFrameMkLst>
          </pc:graphicFrameChg>
        </pc:sldLayoutChg>
        <pc:sldLayoutChg chg="modSp">
          <pc:chgData name="Chunyen Li (李 俊諺)" userId="40660eec-0f7d-4f76-820a-6b6c2202dd67" providerId="ADAL" clId="{BFF7D067-EF6C-45E0-A6DE-19D0DA41B8A1}" dt="2026-07-16T06:35:10.814" v="3"/>
          <pc:sldLayoutMkLst>
            <pc:docMk/>
            <pc:sldMasterMk cId="2620355282" sldId="2147483656"/>
            <pc:sldLayoutMk cId="1625929446" sldId="2147483662"/>
          </pc:sldLayoutMkLst>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2"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5"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35" creationId="{91A86664-5C54-422E-9845-CE43BCF48AD0}"/>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36" creationId="{2A907F00-5633-4967-B33F-377042B7E387}"/>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37" creationId="{57AD7F91-635E-4489-B2CA-6328658BAD8C}"/>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38" creationId="{1B4AA2B2-6FB2-4661-8914-57707171B418}"/>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40" creationId="{B7E8B79A-AF9C-4E46-A641-F6F7DEF2D25A}"/>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41" creationId="{A8BC1D1A-878D-440F-B3E2-090D8C9552F1}"/>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44" creationId="{449485E6-3EC9-4431-A64C-F786A63CDCC0}"/>
            </ac:spMkLst>
          </pc:spChg>
          <pc:spChg chg="mod">
            <ac:chgData name="Chunyen Li (李 俊諺)" userId="40660eec-0f7d-4f76-820a-6b6c2202dd67" providerId="ADAL" clId="{BFF7D067-EF6C-45E0-A6DE-19D0DA41B8A1}" dt="2026-07-16T06:35:10.814" v="3"/>
            <ac:spMkLst>
              <pc:docMk/>
              <pc:sldMasterMk cId="2620355282" sldId="2147483656"/>
              <pc:sldLayoutMk cId="1625929446" sldId="2147483662"/>
              <ac:spMk id="45" creationId="{8E7095D9-9696-4BA2-BDE1-B5383D653715}"/>
            </ac:spMkLst>
          </pc:spChg>
        </pc:sldLayoutChg>
        <pc:sldLayoutChg chg="modSp">
          <pc:chgData name="Chunyen Li (李 俊諺)" userId="40660eec-0f7d-4f76-820a-6b6c2202dd67" providerId="ADAL" clId="{BFF7D067-EF6C-45E0-A6DE-19D0DA41B8A1}" dt="2026-07-16T06:35:10.814" v="3"/>
          <pc:sldLayoutMkLst>
            <pc:docMk/>
            <pc:sldMasterMk cId="2620355282" sldId="2147483656"/>
            <pc:sldLayoutMk cId="1667452208" sldId="2147483671"/>
          </pc:sldLayoutMkLst>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4" creationId="{F83D3DEB-0D07-40CB-8FD6-719417EFB5BD}"/>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13" creationId="{0C5A3AF6-A352-47C0-B8E6-91A4CA635DB1}"/>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15" creationId="{E099CB60-AD94-4871-9519-AF7617285172}"/>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16" creationId="{A1EAF83C-8D63-45BF-A367-7B6C8E344817}"/>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20" creationId="{506845F4-630C-4E61-A8BA-1EF6B2426C51}"/>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21" creationId="{89C80F63-277F-4FBE-85FC-8BE2FED2AC84}"/>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22" creationId="{1AE035B2-8B76-407E-8E10-3986DE014F3E}"/>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23" creationId="{771AB0BE-9553-4959-9C9D-AD2249C6EECB}"/>
            </ac:spMkLst>
          </pc:spChg>
          <pc:spChg chg="mod">
            <ac:chgData name="Chunyen Li (李 俊諺)" userId="40660eec-0f7d-4f76-820a-6b6c2202dd67" providerId="ADAL" clId="{BFF7D067-EF6C-45E0-A6DE-19D0DA41B8A1}" dt="2026-07-16T06:35:10.814" v="3"/>
            <ac:spMkLst>
              <pc:docMk/>
              <pc:sldMasterMk cId="2620355282" sldId="2147483656"/>
              <pc:sldLayoutMk cId="1667452208" sldId="2147483671"/>
              <ac:spMk id="24" creationId="{C786F307-2562-4121-9D30-07AF67FDF259}"/>
            </ac:spMkLst>
          </pc:spChg>
          <pc:picChg chg="mod">
            <ac:chgData name="Chunyen Li (李 俊諺)" userId="40660eec-0f7d-4f76-820a-6b6c2202dd67" providerId="ADAL" clId="{BFF7D067-EF6C-45E0-A6DE-19D0DA41B8A1}" dt="2026-07-16T06:35:10.814" v="3"/>
            <ac:picMkLst>
              <pc:docMk/>
              <pc:sldMasterMk cId="2620355282" sldId="2147483656"/>
              <pc:sldLayoutMk cId="1667452208" sldId="2147483671"/>
              <ac:picMk id="12" creationId="{CF57CD68-6747-4A0C-81E6-8448EFD6A90D}"/>
            </ac:picMkLst>
          </pc:picChg>
        </pc:sldLayoutChg>
        <pc:sldLayoutChg chg="modSp">
          <pc:chgData name="Chunyen Li (李 俊諺)" userId="40660eec-0f7d-4f76-820a-6b6c2202dd67" providerId="ADAL" clId="{BFF7D067-EF6C-45E0-A6DE-19D0DA41B8A1}" dt="2026-07-16T06:35:10.814" v="3"/>
          <pc:sldLayoutMkLst>
            <pc:docMk/>
            <pc:sldMasterMk cId="2620355282" sldId="2147483656"/>
            <pc:sldLayoutMk cId="1124997827" sldId="2147483713"/>
          </pc:sldLayoutMkLst>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4" creationId="{F83D3DEB-0D07-40CB-8FD6-719417EFB5BD}"/>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13" creationId="{14D28EC6-3632-4319-85EE-2C9F2B5BDE87}"/>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16" creationId="{3891FA04-C498-42B4-B608-85D9355A28FD}"/>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17" creationId="{F4BBFA92-AB5D-461D-9BF8-3A11248E1568}"/>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19" creationId="{B8979D12-8CC2-446B-B35D-E2BFE6766C93}"/>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20" creationId="{6700D048-5C30-4243-BA9E-28076092735B}"/>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21" creationId="{B8C02C48-1EA6-4E18-9667-B7E793A9C7D4}"/>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22" creationId="{FC2240E4-0F4D-415B-81B9-551DA104773B}"/>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24" creationId="{67BB270F-DC09-4AE2-A35F-A7CD537D8AF5}"/>
            </ac:spMkLst>
          </pc:spChg>
          <pc:spChg chg="mod">
            <ac:chgData name="Chunyen Li (李 俊諺)" userId="40660eec-0f7d-4f76-820a-6b6c2202dd67" providerId="ADAL" clId="{BFF7D067-EF6C-45E0-A6DE-19D0DA41B8A1}" dt="2026-07-16T06:35:10.814" v="3"/>
            <ac:spMkLst>
              <pc:docMk/>
              <pc:sldMasterMk cId="2620355282" sldId="2147483656"/>
              <pc:sldLayoutMk cId="1124997827" sldId="2147483713"/>
              <ac:spMk id="35" creationId="{730EE1B2-E4BC-4421-8889-4EF5F9098167}"/>
            </ac:spMkLst>
          </pc:spChg>
        </pc:sldLayoutChg>
        <pc:sldLayoutChg chg="modSp">
          <pc:chgData name="Chunyen Li (李 俊諺)" userId="40660eec-0f7d-4f76-820a-6b6c2202dd67" providerId="ADAL" clId="{BFF7D067-EF6C-45E0-A6DE-19D0DA41B8A1}" dt="2026-07-16T06:35:10.814" v="3"/>
          <pc:sldLayoutMkLst>
            <pc:docMk/>
            <pc:sldMasterMk cId="2620355282" sldId="2147483656"/>
            <pc:sldLayoutMk cId="1500917048" sldId="2147483739"/>
          </pc:sldLayoutMkLst>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2" creationId="{00000000-0000-0000-0000-000000000000}"/>
            </ac:spMkLst>
          </pc:spChg>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4" creationId="{F83D3DEB-0D07-40CB-8FD6-719417EFB5BD}"/>
            </ac:spMkLst>
          </pc:spChg>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11" creationId="{6C1633A3-41CC-4C11-8B3C-FED4B77DB9FC}"/>
            </ac:spMkLst>
          </pc:spChg>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13" creationId="{7B43D4A4-9D9D-4FCE-8540-8FD496759497}"/>
            </ac:spMkLst>
          </pc:spChg>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16" creationId="{DBB84BA7-E9EC-408F-B46A-3AF7828C65C2}"/>
            </ac:spMkLst>
          </pc:spChg>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17" creationId="{C199ABAD-6C84-420B-A409-F715B4346D69}"/>
            </ac:spMkLst>
          </pc:spChg>
          <pc:spChg chg="mod">
            <ac:chgData name="Chunyen Li (李 俊諺)" userId="40660eec-0f7d-4f76-820a-6b6c2202dd67" providerId="ADAL" clId="{BFF7D067-EF6C-45E0-A6DE-19D0DA41B8A1}" dt="2026-07-16T06:35:10.814" v="3"/>
            <ac:spMkLst>
              <pc:docMk/>
              <pc:sldMasterMk cId="2620355282" sldId="2147483656"/>
              <pc:sldLayoutMk cId="1500917048" sldId="2147483739"/>
              <ac:spMk id="27" creationId="{FBD886BD-EA26-4C38-B6C1-6183E7C05962}"/>
            </ac:spMkLst>
          </pc:spChg>
          <pc:graphicFrameChg chg="mod">
            <ac:chgData name="Chunyen Li (李 俊諺)" userId="40660eec-0f7d-4f76-820a-6b6c2202dd67" providerId="ADAL" clId="{BFF7D067-EF6C-45E0-A6DE-19D0DA41B8A1}" dt="2026-07-16T06:35:10.814" v="3"/>
            <ac:graphicFrameMkLst>
              <pc:docMk/>
              <pc:sldMasterMk cId="2620355282" sldId="2147483656"/>
              <pc:sldLayoutMk cId="1500917048" sldId="2147483739"/>
              <ac:graphicFrameMk id="6" creationId="{83A71F68-6513-415C-AD40-969E8BCEA238}"/>
            </ac:graphicFrameMkLst>
          </pc:graphicFrameChg>
          <pc:picChg chg="mod">
            <ac:chgData name="Chunyen Li (李 俊諺)" userId="40660eec-0f7d-4f76-820a-6b6c2202dd67" providerId="ADAL" clId="{BFF7D067-EF6C-45E0-A6DE-19D0DA41B8A1}" dt="2026-07-16T06:35:10.814" v="3"/>
            <ac:picMkLst>
              <pc:docMk/>
              <pc:sldMasterMk cId="2620355282" sldId="2147483656"/>
              <pc:sldLayoutMk cId="1500917048" sldId="2147483739"/>
              <ac:picMk id="12" creationId="{046A9D12-5B6A-4AEF-9FCC-0C8551F73D7B}"/>
            </ac:picMkLst>
          </pc:picChg>
        </pc:sldLayoutChg>
      </pc:sldMasterChg>
      <pc:sldMasterChg chg="modSp modSldLayout">
        <pc:chgData name="Chunyen Li (李 俊諺)" userId="40660eec-0f7d-4f76-820a-6b6c2202dd67" providerId="ADAL" clId="{BFF7D067-EF6C-45E0-A6DE-19D0DA41B8A1}" dt="2026-07-16T06:35:10.814" v="3"/>
        <pc:sldMasterMkLst>
          <pc:docMk/>
          <pc:sldMasterMk cId="2369414416" sldId="2147483687"/>
        </pc:sldMasterMkLst>
        <pc:spChg chg="mod">
          <ac:chgData name="Chunyen Li (李 俊諺)" userId="40660eec-0f7d-4f76-820a-6b6c2202dd67" providerId="ADAL" clId="{BFF7D067-EF6C-45E0-A6DE-19D0DA41B8A1}" dt="2026-07-16T06:35:10.814" v="3"/>
          <ac:spMkLst>
            <pc:docMk/>
            <pc:sldMasterMk cId="2369414416" sldId="2147483687"/>
            <ac:spMk id="6" creationId="{3440F440-ADE6-41E3-A456-AF062FB7F88D}"/>
          </ac:spMkLst>
        </pc:spChg>
        <pc:spChg chg="mod">
          <ac:chgData name="Chunyen Li (李 俊諺)" userId="40660eec-0f7d-4f76-820a-6b6c2202dd67" providerId="ADAL" clId="{BFF7D067-EF6C-45E0-A6DE-19D0DA41B8A1}" dt="2026-07-16T06:35:10.814" v="3"/>
          <ac:spMkLst>
            <pc:docMk/>
            <pc:sldMasterMk cId="2369414416" sldId="2147483687"/>
            <ac:spMk id="22" creationId="{03A88E47-B49E-454B-AE75-E702952DF938}"/>
          </ac:spMkLst>
        </pc:spChg>
        <pc:spChg chg="mod">
          <ac:chgData name="Chunyen Li (李 俊諺)" userId="40660eec-0f7d-4f76-820a-6b6c2202dd67" providerId="ADAL" clId="{BFF7D067-EF6C-45E0-A6DE-19D0DA41B8A1}" dt="2026-07-16T06:35:10.814" v="3"/>
          <ac:spMkLst>
            <pc:docMk/>
            <pc:sldMasterMk cId="2369414416" sldId="2147483687"/>
            <ac:spMk id="1026"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ac:spMk id="1027" creationId="{00000000-0000-0000-0000-000000000000}"/>
          </ac:spMkLst>
        </pc:spChg>
        <pc:grpChg chg="mod">
          <ac:chgData name="Chunyen Li (李 俊諺)" userId="40660eec-0f7d-4f76-820a-6b6c2202dd67" providerId="ADAL" clId="{BFF7D067-EF6C-45E0-A6DE-19D0DA41B8A1}" dt="2026-07-16T06:35:10.814" v="3"/>
          <ac:grpSpMkLst>
            <pc:docMk/>
            <pc:sldMasterMk cId="2369414416" sldId="2147483687"/>
            <ac:grpSpMk id="13" creationId="{9B2D963D-EB01-48FD-8F35-B097DE699A3F}"/>
          </ac:grpSpMkLst>
        </pc:grpChg>
        <pc:graphicFrameChg chg="mod">
          <ac:chgData name="Chunyen Li (李 俊諺)" userId="40660eec-0f7d-4f76-820a-6b6c2202dd67" providerId="ADAL" clId="{BFF7D067-EF6C-45E0-A6DE-19D0DA41B8A1}" dt="2026-07-16T06:35:10.814" v="3"/>
          <ac:graphicFrameMkLst>
            <pc:docMk/>
            <pc:sldMasterMk cId="2369414416" sldId="2147483687"/>
            <ac:graphicFrameMk id="7" creationId="{63CC2770-6CAA-4391-B269-187D7EF57FB3}"/>
          </ac:graphicFrameMkLst>
        </pc:graphicFrameChg>
        <pc:picChg chg="mod">
          <ac:chgData name="Chunyen Li (李 俊諺)" userId="40660eec-0f7d-4f76-820a-6b6c2202dd67" providerId="ADAL" clId="{BFF7D067-EF6C-45E0-A6DE-19D0DA41B8A1}" dt="2026-07-16T06:35:10.814" v="3"/>
          <ac:picMkLst>
            <pc:docMk/>
            <pc:sldMasterMk cId="2369414416" sldId="2147483687"/>
            <ac:picMk id="14" creationId="{E6B5FA4F-285E-4F6A-B16A-458D2DF4D308}"/>
          </ac:picMkLst>
        </pc:picChg>
        <pc:picChg chg="mod">
          <ac:chgData name="Chunyen Li (李 俊諺)" userId="40660eec-0f7d-4f76-820a-6b6c2202dd67" providerId="ADAL" clId="{BFF7D067-EF6C-45E0-A6DE-19D0DA41B8A1}" dt="2026-07-16T06:35:10.814" v="3"/>
          <ac:picMkLst>
            <pc:docMk/>
            <pc:sldMasterMk cId="2369414416" sldId="2147483687"/>
            <ac:picMk id="15" creationId="{9205E04B-E85A-4424-B42E-0B7D0AE17B1C}"/>
          </ac:picMkLst>
        </pc:picChg>
        <pc:picChg chg="mod">
          <ac:chgData name="Chunyen Li (李 俊諺)" userId="40660eec-0f7d-4f76-820a-6b6c2202dd67" providerId="ADAL" clId="{BFF7D067-EF6C-45E0-A6DE-19D0DA41B8A1}" dt="2026-07-16T06:35:10.814" v="3"/>
          <ac:picMkLst>
            <pc:docMk/>
            <pc:sldMasterMk cId="2369414416" sldId="2147483687"/>
            <ac:picMk id="16" creationId="{151B4F83-312F-42BB-BD6D-57FFFCA80812}"/>
          </ac:picMkLst>
        </pc:picChg>
        <pc:sldLayoutChg chg="modSp">
          <pc:chgData name="Chunyen Li (李 俊諺)" userId="40660eec-0f7d-4f76-820a-6b6c2202dd67" providerId="ADAL" clId="{BFF7D067-EF6C-45E0-A6DE-19D0DA41B8A1}" dt="2026-07-16T06:35:10.814" v="3"/>
          <pc:sldLayoutMkLst>
            <pc:docMk/>
            <pc:sldMasterMk cId="2369414416" sldId="2147483687"/>
            <pc:sldLayoutMk cId="3500032025" sldId="2147483689"/>
          </pc:sldLayoutMkLst>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2"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3"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4" creationId="{F83D3DEB-0D07-40CB-8FD6-719417EFB5BD}"/>
            </ac:spMkLst>
          </pc:spChg>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12" creationId="{5AD276B5-DC73-4146-8703-95225DCEE3E3}"/>
            </ac:spMkLst>
          </pc:spChg>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13" creationId="{D2A5324B-6FEE-4DF2-A914-C7DC80FBD05B}"/>
            </ac:spMkLst>
          </pc:spChg>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14" creationId="{23EEE3C7-857D-416E-9B2B-D8A246869B3E}"/>
            </ac:spMkLst>
          </pc:spChg>
          <pc:spChg chg="mod">
            <ac:chgData name="Chunyen Li (李 俊諺)" userId="40660eec-0f7d-4f76-820a-6b6c2202dd67" providerId="ADAL" clId="{BFF7D067-EF6C-45E0-A6DE-19D0DA41B8A1}" dt="2026-07-16T06:35:10.814" v="3"/>
            <ac:spMkLst>
              <pc:docMk/>
              <pc:sldMasterMk cId="2369414416" sldId="2147483687"/>
              <pc:sldLayoutMk cId="3500032025" sldId="2147483689"/>
              <ac:spMk id="26" creationId="{3B4572FA-8D65-4518-98CB-63507ACC89A4}"/>
            </ac:spMkLst>
          </pc:spChg>
          <pc:graphicFrameChg chg="mod">
            <ac:chgData name="Chunyen Li (李 俊諺)" userId="40660eec-0f7d-4f76-820a-6b6c2202dd67" providerId="ADAL" clId="{BFF7D067-EF6C-45E0-A6DE-19D0DA41B8A1}" dt="2026-07-16T06:35:10.814" v="3"/>
            <ac:graphicFrameMkLst>
              <pc:docMk/>
              <pc:sldMasterMk cId="2369414416" sldId="2147483687"/>
              <pc:sldLayoutMk cId="3500032025" sldId="2147483689"/>
              <ac:graphicFrameMk id="6" creationId="{83A71F68-6513-415C-AD40-969E8BCEA238}"/>
            </ac:graphicFrameMkLst>
          </pc:graphicFrameChg>
        </pc:sldLayoutChg>
        <pc:sldLayoutChg chg="modSp">
          <pc:chgData name="Chunyen Li (李 俊諺)" userId="40660eec-0f7d-4f76-820a-6b6c2202dd67" providerId="ADAL" clId="{BFF7D067-EF6C-45E0-A6DE-19D0DA41B8A1}" dt="2026-07-16T06:35:10.814" v="3"/>
          <pc:sldLayoutMkLst>
            <pc:docMk/>
            <pc:sldMasterMk cId="2369414416" sldId="2147483687"/>
            <pc:sldLayoutMk cId="3485718847" sldId="2147483691"/>
          </pc:sldLayoutMkLst>
          <pc:spChg chg="mod">
            <ac:chgData name="Chunyen Li (李 俊諺)" userId="40660eec-0f7d-4f76-820a-6b6c2202dd67" providerId="ADAL" clId="{BFF7D067-EF6C-45E0-A6DE-19D0DA41B8A1}" dt="2026-07-16T06:35:10.814" v="3"/>
            <ac:spMkLst>
              <pc:docMk/>
              <pc:sldMasterMk cId="2369414416" sldId="2147483687"/>
              <pc:sldLayoutMk cId="3485718847" sldId="2147483691"/>
              <ac:spMk id="2"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3485718847" sldId="2147483691"/>
              <ac:spMk id="3"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3485718847" sldId="2147483691"/>
              <ac:spMk id="4" creationId="{F8960A0A-092B-4319-8185-3AAFB8C1F062}"/>
            </ac:spMkLst>
          </pc:spChg>
          <pc:spChg chg="mod">
            <ac:chgData name="Chunyen Li (李 俊諺)" userId="40660eec-0f7d-4f76-820a-6b6c2202dd67" providerId="ADAL" clId="{BFF7D067-EF6C-45E0-A6DE-19D0DA41B8A1}" dt="2026-07-16T06:35:10.814" v="3"/>
            <ac:spMkLst>
              <pc:docMk/>
              <pc:sldMasterMk cId="2369414416" sldId="2147483687"/>
              <pc:sldLayoutMk cId="3485718847" sldId="2147483691"/>
              <ac:spMk id="7" creationId="{0249FF53-1257-4BAD-BE1B-76F32B91DB16}"/>
            </ac:spMkLst>
          </pc:spChg>
          <pc:spChg chg="mod">
            <ac:chgData name="Chunyen Li (李 俊諺)" userId="40660eec-0f7d-4f76-820a-6b6c2202dd67" providerId="ADAL" clId="{BFF7D067-EF6C-45E0-A6DE-19D0DA41B8A1}" dt="2026-07-16T06:35:10.814" v="3"/>
            <ac:spMkLst>
              <pc:docMk/>
              <pc:sldMasterMk cId="2369414416" sldId="2147483687"/>
              <pc:sldLayoutMk cId="3485718847" sldId="2147483691"/>
              <ac:spMk id="8" creationId="{3878CB30-2171-4D23-9A51-F1C66D75376E}"/>
            </ac:spMkLst>
          </pc:spChg>
          <pc:graphicFrameChg chg="mod">
            <ac:chgData name="Chunyen Li (李 俊諺)" userId="40660eec-0f7d-4f76-820a-6b6c2202dd67" providerId="ADAL" clId="{BFF7D067-EF6C-45E0-A6DE-19D0DA41B8A1}" dt="2026-07-16T06:35:10.814" v="3"/>
            <ac:graphicFrameMkLst>
              <pc:docMk/>
              <pc:sldMasterMk cId="2369414416" sldId="2147483687"/>
              <pc:sldLayoutMk cId="3485718847" sldId="2147483691"/>
              <ac:graphicFrameMk id="6" creationId="{61133E61-B4FF-4268-AE06-99469B145BC5}"/>
            </ac:graphicFrameMkLst>
          </pc:graphicFrameChg>
        </pc:sldLayoutChg>
        <pc:sldLayoutChg chg="modSp">
          <pc:chgData name="Chunyen Li (李 俊諺)" userId="40660eec-0f7d-4f76-820a-6b6c2202dd67" providerId="ADAL" clId="{BFF7D067-EF6C-45E0-A6DE-19D0DA41B8A1}" dt="2026-07-16T06:35:10.814" v="3"/>
          <pc:sldLayoutMkLst>
            <pc:docMk/>
            <pc:sldMasterMk cId="2369414416" sldId="2147483687"/>
            <pc:sldLayoutMk cId="1740195694" sldId="2147483693"/>
          </pc:sldLayoutMkLst>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4" creationId="{F83D3DEB-0D07-40CB-8FD6-719417EFB5BD}"/>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12" creationId="{676A0F88-5B0C-4051-B488-D4DC7997C455}"/>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13" creationId="{AAC43A4C-5933-4319-9D2D-A105C4DCCDF8}"/>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14" creationId="{41E90245-38D7-4084-B8AC-E4E760241B62}"/>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16" creationId="{DBB84BA7-E9EC-408F-B46A-3AF7828C65C2}"/>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17" creationId="{6A1A729C-3617-444A-92E8-AFFD60FC6696}"/>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19" creationId="{6F7A155E-865F-4A38-BFA7-C7D4CB232D45}"/>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20" creationId="{455F3A25-FE2C-49D0-ABB6-A5B8A9A49966}"/>
            </ac:spMkLst>
          </pc:spChg>
          <pc:spChg chg="mod">
            <ac:chgData name="Chunyen Li (李 俊諺)" userId="40660eec-0f7d-4f76-820a-6b6c2202dd67" providerId="ADAL" clId="{BFF7D067-EF6C-45E0-A6DE-19D0DA41B8A1}" dt="2026-07-16T06:35:10.814" v="3"/>
            <ac:spMkLst>
              <pc:docMk/>
              <pc:sldMasterMk cId="2369414416" sldId="2147483687"/>
              <pc:sldLayoutMk cId="1740195694" sldId="2147483693"/>
              <ac:spMk id="21" creationId="{B4718A5B-E7CD-4174-BD8B-34EB8D2A1AF7}"/>
            </ac:spMkLst>
          </pc:spChg>
          <pc:graphicFrameChg chg="mod">
            <ac:chgData name="Chunyen Li (李 俊諺)" userId="40660eec-0f7d-4f76-820a-6b6c2202dd67" providerId="ADAL" clId="{BFF7D067-EF6C-45E0-A6DE-19D0DA41B8A1}" dt="2026-07-16T06:35:10.814" v="3"/>
            <ac:graphicFrameMkLst>
              <pc:docMk/>
              <pc:sldMasterMk cId="2369414416" sldId="2147483687"/>
              <pc:sldLayoutMk cId="1740195694" sldId="2147483693"/>
              <ac:graphicFrameMk id="6" creationId="{83A71F68-6513-415C-AD40-969E8BCEA238}"/>
            </ac:graphicFrameMkLst>
          </pc:graphicFrameChg>
        </pc:sldLayoutChg>
        <pc:sldLayoutChg chg="modSp">
          <pc:chgData name="Chunyen Li (李 俊諺)" userId="40660eec-0f7d-4f76-820a-6b6c2202dd67" providerId="ADAL" clId="{BFF7D067-EF6C-45E0-A6DE-19D0DA41B8A1}" dt="2026-07-16T06:35:10.814" v="3"/>
          <pc:sldLayoutMkLst>
            <pc:docMk/>
            <pc:sldMasterMk cId="2369414416" sldId="2147483687"/>
            <pc:sldLayoutMk cId="4095274339" sldId="2147483702"/>
          </pc:sldLayoutMkLst>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2"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7"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8" creationId="{00000000-0000-0000-0000-000000000000}"/>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15" creationId="{568A21FC-1FDF-4A24-82C9-6B6B37A46879}"/>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26" creationId="{ACE9A4B3-1FB1-473B-B81A-82379D4E3AE8}"/>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33" creationId="{4BF38027-F77D-4A27-9DDF-6F244F339B4F}"/>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34" creationId="{36BC29AE-D5E7-4840-B60E-500D6850EE8A}"/>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35" creationId="{52C1A5CB-877E-45FE-93BB-0A52EE7F536E}"/>
            </ac:spMkLst>
          </pc:spChg>
          <pc:spChg chg="mod">
            <ac:chgData name="Chunyen Li (李 俊諺)" userId="40660eec-0f7d-4f76-820a-6b6c2202dd67" providerId="ADAL" clId="{BFF7D067-EF6C-45E0-A6DE-19D0DA41B8A1}" dt="2026-07-16T06:35:10.814" v="3"/>
            <ac:spMkLst>
              <pc:docMk/>
              <pc:sldMasterMk cId="2369414416" sldId="2147483687"/>
              <pc:sldLayoutMk cId="4095274339" sldId="2147483702"/>
              <ac:spMk id="36" creationId="{DA331131-16AA-45DB-91CF-E1DBFA851D9B}"/>
            </ac:spMkLst>
          </pc:spChg>
          <pc:picChg chg="mod">
            <ac:chgData name="Chunyen Li (李 俊諺)" userId="40660eec-0f7d-4f76-820a-6b6c2202dd67" providerId="ADAL" clId="{BFF7D067-EF6C-45E0-A6DE-19D0DA41B8A1}" dt="2026-07-16T06:35:10.814" v="3"/>
            <ac:picMkLst>
              <pc:docMk/>
              <pc:sldMasterMk cId="2369414416" sldId="2147483687"/>
              <pc:sldLayoutMk cId="4095274339" sldId="2147483702"/>
              <ac:picMk id="18" creationId="{9D32684D-7A50-43F1-8A2D-624A06BB71B6}"/>
            </ac:picMkLst>
          </pc:picChg>
        </pc:sldLayoutChg>
        <pc:sldLayoutChg chg="modSp">
          <pc:chgData name="Chunyen Li (李 俊諺)" userId="40660eec-0f7d-4f76-820a-6b6c2202dd67" providerId="ADAL" clId="{BFF7D067-EF6C-45E0-A6DE-19D0DA41B8A1}" dt="2026-07-16T06:35:10.814" v="3"/>
          <pc:sldLayoutMkLst>
            <pc:docMk/>
            <pc:sldMasterMk cId="2369414416" sldId="2147483687"/>
            <pc:sldLayoutMk cId="186684436" sldId="2147483714"/>
          </pc:sldLayoutMkLst>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4" creationId="{F83D3DEB-0D07-40CB-8FD6-719417EFB5BD}"/>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15" creationId="{F998226D-E601-4A11-B523-36B8265AE9F1}"/>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18" creationId="{F219DBA5-4FF9-43C9-A7E5-0A9B36291843}"/>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20" creationId="{59D65977-C0B9-4D7A-8916-EA7046BD323C}"/>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22" creationId="{BFACEE35-5230-48CE-8C3C-75D8CE01755E}"/>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24" creationId="{36420DD4-DDCF-49FA-B714-1C5512CBD14E}"/>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25" creationId="{C698507A-70C8-4139-9251-1CEC7E9CCA2F}"/>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26" creationId="{CDA2C7BF-2319-46C0-A514-5C1852C3895A}"/>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28" creationId="{4C4547D3-9F7B-452D-BFC8-AF003AD5EBD0}"/>
            </ac:spMkLst>
          </pc:spChg>
          <pc:spChg chg="mod">
            <ac:chgData name="Chunyen Li (李 俊諺)" userId="40660eec-0f7d-4f76-820a-6b6c2202dd67" providerId="ADAL" clId="{BFF7D067-EF6C-45E0-A6DE-19D0DA41B8A1}" dt="2026-07-16T06:35:10.814" v="3"/>
            <ac:spMkLst>
              <pc:docMk/>
              <pc:sldMasterMk cId="2369414416" sldId="2147483687"/>
              <pc:sldLayoutMk cId="186684436" sldId="2147483714"/>
              <ac:spMk id="32" creationId="{7B874DDE-B9E0-420D-8E16-E322FD304BF3}"/>
            </ac:spMkLst>
          </pc:spChg>
        </pc:sldLayoutChg>
      </pc:sldMasterChg>
      <pc:sldMasterChg chg="modSp modSldLayout">
        <pc:chgData name="Chunyen Li (李 俊諺)" userId="40660eec-0f7d-4f76-820a-6b6c2202dd67" providerId="ADAL" clId="{BFF7D067-EF6C-45E0-A6DE-19D0DA41B8A1}" dt="2026-07-16T06:35:10.814" v="3"/>
        <pc:sldMasterMkLst>
          <pc:docMk/>
          <pc:sldMasterMk cId="1045984656" sldId="2147483715"/>
        </pc:sldMasterMkLst>
        <pc:spChg chg="mod">
          <ac:chgData name="Chunyen Li (李 俊諺)" userId="40660eec-0f7d-4f76-820a-6b6c2202dd67" providerId="ADAL" clId="{BFF7D067-EF6C-45E0-A6DE-19D0DA41B8A1}" dt="2026-07-16T06:35:10.814" v="3"/>
          <ac:spMkLst>
            <pc:docMk/>
            <pc:sldMasterMk cId="1045984656" sldId="2147483715"/>
            <ac:spMk id="6" creationId="{3440F440-ADE6-41E3-A456-AF062FB7F88D}"/>
          </ac:spMkLst>
        </pc:spChg>
        <pc:spChg chg="mod">
          <ac:chgData name="Chunyen Li (李 俊諺)" userId="40660eec-0f7d-4f76-820a-6b6c2202dd67" providerId="ADAL" clId="{BFF7D067-EF6C-45E0-A6DE-19D0DA41B8A1}" dt="2026-07-16T06:35:10.814" v="3"/>
          <ac:spMkLst>
            <pc:docMk/>
            <pc:sldMasterMk cId="1045984656" sldId="2147483715"/>
            <ac:spMk id="23" creationId="{B645968D-841B-4C74-BB23-AF28AEC95143}"/>
          </ac:spMkLst>
        </pc:spChg>
        <pc:spChg chg="mod">
          <ac:chgData name="Chunyen Li (李 俊諺)" userId="40660eec-0f7d-4f76-820a-6b6c2202dd67" providerId="ADAL" clId="{BFF7D067-EF6C-45E0-A6DE-19D0DA41B8A1}" dt="2026-07-16T06:35:10.814" v="3"/>
          <ac:spMkLst>
            <pc:docMk/>
            <pc:sldMasterMk cId="1045984656" sldId="2147483715"/>
            <ac:spMk id="1026" creationId="{00000000-0000-0000-0000-000000000000}"/>
          </ac:spMkLst>
        </pc:spChg>
        <pc:spChg chg="mod">
          <ac:chgData name="Chunyen Li (李 俊諺)" userId="40660eec-0f7d-4f76-820a-6b6c2202dd67" providerId="ADAL" clId="{BFF7D067-EF6C-45E0-A6DE-19D0DA41B8A1}" dt="2026-07-16T06:35:10.814" v="3"/>
          <ac:spMkLst>
            <pc:docMk/>
            <pc:sldMasterMk cId="1045984656" sldId="2147483715"/>
            <ac:spMk id="1027" creationId="{00000000-0000-0000-0000-000000000000}"/>
          </ac:spMkLst>
        </pc:spChg>
        <pc:grpChg chg="mod">
          <ac:chgData name="Chunyen Li (李 俊諺)" userId="40660eec-0f7d-4f76-820a-6b6c2202dd67" providerId="ADAL" clId="{BFF7D067-EF6C-45E0-A6DE-19D0DA41B8A1}" dt="2026-07-16T06:35:10.814" v="3"/>
          <ac:grpSpMkLst>
            <pc:docMk/>
            <pc:sldMasterMk cId="1045984656" sldId="2147483715"/>
            <ac:grpSpMk id="11" creationId="{12FB05A7-1E07-45A8-B695-F5410490AECB}"/>
          </ac:grpSpMkLst>
        </pc:grpChg>
        <pc:graphicFrameChg chg="mod">
          <ac:chgData name="Chunyen Li (李 俊諺)" userId="40660eec-0f7d-4f76-820a-6b6c2202dd67" providerId="ADAL" clId="{BFF7D067-EF6C-45E0-A6DE-19D0DA41B8A1}" dt="2026-07-16T06:35:10.814" v="3"/>
          <ac:graphicFrameMkLst>
            <pc:docMk/>
            <pc:sldMasterMk cId="1045984656" sldId="2147483715"/>
            <ac:graphicFrameMk id="7" creationId="{63CC2770-6CAA-4391-B269-187D7EF57FB3}"/>
          </ac:graphicFrameMkLst>
        </pc:graphicFrameChg>
        <pc:picChg chg="mod">
          <ac:chgData name="Chunyen Li (李 俊諺)" userId="40660eec-0f7d-4f76-820a-6b6c2202dd67" providerId="ADAL" clId="{BFF7D067-EF6C-45E0-A6DE-19D0DA41B8A1}" dt="2026-07-16T06:35:10.814" v="3"/>
          <ac:picMkLst>
            <pc:docMk/>
            <pc:sldMasterMk cId="1045984656" sldId="2147483715"/>
            <ac:picMk id="12" creationId="{DF17E390-7EE6-44D7-B48D-142174ABC5D4}"/>
          </ac:picMkLst>
        </pc:picChg>
        <pc:picChg chg="mod">
          <ac:chgData name="Chunyen Li (李 俊諺)" userId="40660eec-0f7d-4f76-820a-6b6c2202dd67" providerId="ADAL" clId="{BFF7D067-EF6C-45E0-A6DE-19D0DA41B8A1}" dt="2026-07-16T06:35:10.814" v="3"/>
          <ac:picMkLst>
            <pc:docMk/>
            <pc:sldMasterMk cId="1045984656" sldId="2147483715"/>
            <ac:picMk id="15" creationId="{050A220C-4E3D-4151-8741-99D3ADFFF7CF}"/>
          </ac:picMkLst>
        </pc:picChg>
        <pc:picChg chg="mod">
          <ac:chgData name="Chunyen Li (李 俊諺)" userId="40660eec-0f7d-4f76-820a-6b6c2202dd67" providerId="ADAL" clId="{BFF7D067-EF6C-45E0-A6DE-19D0DA41B8A1}" dt="2026-07-16T06:35:10.814" v="3"/>
          <ac:picMkLst>
            <pc:docMk/>
            <pc:sldMasterMk cId="1045984656" sldId="2147483715"/>
            <ac:picMk id="16" creationId="{98530D01-5657-493B-B6A4-BF37406DBA79}"/>
          </ac:picMkLst>
        </pc:picChg>
        <pc:picChg chg="mod">
          <ac:chgData name="Chunyen Li (李 俊諺)" userId="40660eec-0f7d-4f76-820a-6b6c2202dd67" providerId="ADAL" clId="{BFF7D067-EF6C-45E0-A6DE-19D0DA41B8A1}" dt="2026-07-16T06:35:10.814" v="3"/>
          <ac:picMkLst>
            <pc:docMk/>
            <pc:sldMasterMk cId="1045984656" sldId="2147483715"/>
            <ac:picMk id="18" creationId="{8BC8C964-3896-4FB4-A551-CDF99E8BD483}"/>
          </ac:picMkLst>
        </pc:picChg>
        <pc:sldLayoutChg chg="modSp">
          <pc:chgData name="Chunyen Li (李 俊諺)" userId="40660eec-0f7d-4f76-820a-6b6c2202dd67" providerId="ADAL" clId="{BFF7D067-EF6C-45E0-A6DE-19D0DA41B8A1}" dt="2026-07-16T06:35:10.814" v="3"/>
          <pc:sldLayoutMkLst>
            <pc:docMk/>
            <pc:sldMasterMk cId="1045984656" sldId="2147483715"/>
            <pc:sldLayoutMk cId="1665312484" sldId="2147483716"/>
          </pc:sldLayoutMkLst>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2" creationId="{00000000-0000-0000-0000-000000000000}"/>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13" creationId="{262E39A6-0BAE-4A8C-8E05-F891CBDB8160}"/>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30" creationId="{4449AACB-660E-44B0-8708-8EF4154FCBAB}"/>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31" creationId="{80C80EA4-655D-4BA1-9C18-5BD4F19E3053}"/>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32" creationId="{3DDD866E-28D9-4852-A1CE-4DE34D4DDEE7}"/>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33" creationId="{7A17CE13-CE98-4D0E-B9A8-C19AE17842D2}"/>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34" creationId="{3D0B40B1-FC73-4926-9FDD-731F6DB35128}"/>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48" creationId="{1F66C7A9-BD48-4ECE-AFFD-CB9F755A5CD8}"/>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50" creationId="{7346643D-79FF-46C7-B73A-4ACCDE4A89E2}"/>
            </ac:spMkLst>
          </pc:spChg>
          <pc:spChg chg="mod">
            <ac:chgData name="Chunyen Li (李 俊諺)" userId="40660eec-0f7d-4f76-820a-6b6c2202dd67" providerId="ADAL" clId="{BFF7D067-EF6C-45E0-A6DE-19D0DA41B8A1}" dt="2026-07-16T06:35:10.814" v="3"/>
            <ac:spMkLst>
              <pc:docMk/>
              <pc:sldMasterMk cId="1045984656" sldId="2147483715"/>
              <pc:sldLayoutMk cId="1665312484" sldId="2147483716"/>
              <ac:spMk id="51" creationId="{06AFEA0F-976B-4F7F-8029-C8A76B468219}"/>
            </ac:spMkLst>
          </pc:spChg>
        </pc:sldLayoutChg>
        <pc:sldLayoutChg chg="modSp">
          <pc:chgData name="Chunyen Li (李 俊諺)" userId="40660eec-0f7d-4f76-820a-6b6c2202dd67" providerId="ADAL" clId="{BFF7D067-EF6C-45E0-A6DE-19D0DA41B8A1}" dt="2026-07-16T06:35:10.814" v="3"/>
          <pc:sldLayoutMkLst>
            <pc:docMk/>
            <pc:sldMasterMk cId="1045984656" sldId="2147483715"/>
            <pc:sldLayoutMk cId="121251491" sldId="2147483717"/>
          </pc:sldLayoutMkLst>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2" creationId="{00000000-0000-0000-0000-000000000000}"/>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3" creationId="{6D51E3D9-19B6-D431-982D-F26F4B12F177}"/>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4" creationId="{F83D3DEB-0D07-40CB-8FD6-719417EFB5BD}"/>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11" creationId="{6C1633A3-41CC-4C11-8B3C-FED4B77DB9FC}"/>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13" creationId="{7B43D4A4-9D9D-4FCE-8540-8FD496759497}"/>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14" creationId="{B59EB27F-AC90-4261-A5A5-2AB0D8BDE9D4}"/>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15" creationId="{FD76A6E7-A61A-4D1E-A23C-F8333B6D1600}"/>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20" creationId="{A4EA98AC-066A-4327-9AAE-43C5E5588449}"/>
            </ac:spMkLst>
          </pc:spChg>
          <pc:spChg chg="mod">
            <ac:chgData name="Chunyen Li (李 俊諺)" userId="40660eec-0f7d-4f76-820a-6b6c2202dd67" providerId="ADAL" clId="{BFF7D067-EF6C-45E0-A6DE-19D0DA41B8A1}" dt="2026-07-16T06:35:10.814" v="3"/>
            <ac:spMkLst>
              <pc:docMk/>
              <pc:sldMasterMk cId="1045984656" sldId="2147483715"/>
              <pc:sldLayoutMk cId="121251491" sldId="2147483717"/>
              <ac:spMk id="27" creationId="{FBD886BD-EA26-4C38-B6C1-6183E7C05962}"/>
            </ac:spMkLst>
          </pc:spChg>
          <pc:picChg chg="mod">
            <ac:chgData name="Chunyen Li (李 俊諺)" userId="40660eec-0f7d-4f76-820a-6b6c2202dd67" providerId="ADAL" clId="{BFF7D067-EF6C-45E0-A6DE-19D0DA41B8A1}" dt="2026-07-16T06:35:10.814" v="3"/>
            <ac:picMkLst>
              <pc:docMk/>
              <pc:sldMasterMk cId="1045984656" sldId="2147483715"/>
              <pc:sldLayoutMk cId="121251491" sldId="2147483717"/>
              <ac:picMk id="12" creationId="{046A9D12-5B6A-4AEF-9FCC-0C8551F73D7B}"/>
            </ac:picMkLst>
          </pc:picChg>
        </pc:sldLayoutChg>
        <pc:sldLayoutChg chg="modSp">
          <pc:chgData name="Chunyen Li (李 俊諺)" userId="40660eec-0f7d-4f76-820a-6b6c2202dd67" providerId="ADAL" clId="{BFF7D067-EF6C-45E0-A6DE-19D0DA41B8A1}" dt="2026-07-16T06:35:10.814" v="3"/>
          <pc:sldLayoutMkLst>
            <pc:docMk/>
            <pc:sldMasterMk cId="1045984656" sldId="2147483715"/>
            <pc:sldLayoutMk cId="3586311942" sldId="2147483719"/>
          </pc:sldLayoutMkLst>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2" creationId="{E7E0364F-A1F8-23E4-E5F0-3AC0E6605152}"/>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4" creationId="{F83D3DEB-0D07-40CB-8FD6-719417EFB5BD}"/>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13" creationId="{14D28EC6-3632-4319-85EE-2C9F2B5BDE87}"/>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16" creationId="{57F0C2AA-A7BD-47C1-B2FD-FCEBFBCD392F}"/>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18" creationId="{6B99E14E-2C1F-45ED-BBDE-2012CA8441D5}"/>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23" creationId="{99013CC8-50A6-457B-928E-BC10132B3B2E}"/>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25" creationId="{ABD30102-0568-43A5-97FA-1737A3E4062E}"/>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26" creationId="{FD651D6B-930C-4BF6-8B33-4A09E9ED7C4D}"/>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35" creationId="{AAD0256E-6E19-4127-AAE5-55033CC5C4B1}"/>
            </ac:spMkLst>
          </pc:spChg>
          <pc:spChg chg="mod">
            <ac:chgData name="Chunyen Li (李 俊諺)" userId="40660eec-0f7d-4f76-820a-6b6c2202dd67" providerId="ADAL" clId="{BFF7D067-EF6C-45E0-A6DE-19D0DA41B8A1}" dt="2026-07-16T06:35:10.814" v="3"/>
            <ac:spMkLst>
              <pc:docMk/>
              <pc:sldMasterMk cId="1045984656" sldId="2147483715"/>
              <pc:sldLayoutMk cId="3586311942" sldId="2147483719"/>
              <ac:spMk id="36" creationId="{09222EBB-C4EF-4D63-844F-1BFD41C12261}"/>
            </ac:spMkLst>
          </pc:spChg>
        </pc:sldLayoutChg>
        <pc:sldLayoutChg chg="modSp">
          <pc:chgData name="Chunyen Li (李 俊諺)" userId="40660eec-0f7d-4f76-820a-6b6c2202dd67" providerId="ADAL" clId="{BFF7D067-EF6C-45E0-A6DE-19D0DA41B8A1}" dt="2026-07-16T06:35:10.814" v="3"/>
          <pc:sldLayoutMkLst>
            <pc:docMk/>
            <pc:sldMasterMk cId="1045984656" sldId="2147483715"/>
            <pc:sldLayoutMk cId="1609990517" sldId="2147483720"/>
          </pc:sldLayoutMkLst>
          <pc:spChg chg="mod">
            <ac:chgData name="Chunyen Li (李 俊諺)" userId="40660eec-0f7d-4f76-820a-6b6c2202dd67" providerId="ADAL" clId="{BFF7D067-EF6C-45E0-A6DE-19D0DA41B8A1}" dt="2026-07-16T06:35:10.814" v="3"/>
            <ac:spMkLst>
              <pc:docMk/>
              <pc:sldMasterMk cId="1045984656" sldId="2147483715"/>
              <pc:sldLayoutMk cId="1609990517" sldId="2147483720"/>
              <ac:spMk id="2" creationId="{00000000-0000-0000-0000-000000000000}"/>
            </ac:spMkLst>
          </pc:spChg>
          <pc:spChg chg="mod">
            <ac:chgData name="Chunyen Li (李 俊諺)" userId="40660eec-0f7d-4f76-820a-6b6c2202dd67" providerId="ADAL" clId="{BFF7D067-EF6C-45E0-A6DE-19D0DA41B8A1}" dt="2026-07-16T06:35:10.814" v="3"/>
            <ac:spMkLst>
              <pc:docMk/>
              <pc:sldMasterMk cId="1045984656" sldId="2147483715"/>
              <pc:sldLayoutMk cId="1609990517" sldId="2147483720"/>
              <ac:spMk id="3" creationId="{00000000-0000-0000-0000-000000000000}"/>
            </ac:spMkLst>
          </pc:spChg>
          <pc:spChg chg="mod">
            <ac:chgData name="Chunyen Li (李 俊諺)" userId="40660eec-0f7d-4f76-820a-6b6c2202dd67" providerId="ADAL" clId="{BFF7D067-EF6C-45E0-A6DE-19D0DA41B8A1}" dt="2026-07-16T06:35:10.814" v="3"/>
            <ac:spMkLst>
              <pc:docMk/>
              <pc:sldMasterMk cId="1045984656" sldId="2147483715"/>
              <pc:sldLayoutMk cId="1609990517" sldId="2147483720"/>
              <ac:spMk id="4" creationId="{F8960A0A-092B-4319-8185-3AAFB8C1F062}"/>
            </ac:spMkLst>
          </pc:spChg>
          <pc:spChg chg="mod">
            <ac:chgData name="Chunyen Li (李 俊諺)" userId="40660eec-0f7d-4f76-820a-6b6c2202dd67" providerId="ADAL" clId="{BFF7D067-EF6C-45E0-A6DE-19D0DA41B8A1}" dt="2026-07-16T06:35:10.814" v="3"/>
            <ac:spMkLst>
              <pc:docMk/>
              <pc:sldMasterMk cId="1045984656" sldId="2147483715"/>
              <pc:sldLayoutMk cId="1609990517" sldId="2147483720"/>
              <ac:spMk id="5" creationId="{1B638540-E8BF-2344-1D55-973DF9EE7618}"/>
            </ac:spMkLst>
          </pc:spChg>
          <pc:spChg chg="mod">
            <ac:chgData name="Chunyen Li (李 俊諺)" userId="40660eec-0f7d-4f76-820a-6b6c2202dd67" providerId="ADAL" clId="{BFF7D067-EF6C-45E0-A6DE-19D0DA41B8A1}" dt="2026-07-16T06:35:10.814" v="3"/>
            <ac:spMkLst>
              <pc:docMk/>
              <pc:sldMasterMk cId="1045984656" sldId="2147483715"/>
              <pc:sldLayoutMk cId="1609990517" sldId="2147483720"/>
              <ac:spMk id="8" creationId="{547FA863-7A7D-4F05-9005-0B918C1D25D2}"/>
            </ac:spMkLst>
          </pc:spChg>
          <pc:graphicFrameChg chg="mod">
            <ac:chgData name="Chunyen Li (李 俊諺)" userId="40660eec-0f7d-4f76-820a-6b6c2202dd67" providerId="ADAL" clId="{BFF7D067-EF6C-45E0-A6DE-19D0DA41B8A1}" dt="2026-07-16T06:35:10.814" v="3"/>
            <ac:graphicFrameMkLst>
              <pc:docMk/>
              <pc:sldMasterMk cId="1045984656" sldId="2147483715"/>
              <pc:sldLayoutMk cId="1609990517" sldId="2147483720"/>
              <ac:graphicFrameMk id="6" creationId="{61133E61-B4FF-4268-AE06-99469B145BC5}"/>
            </ac:graphicFrameMkLst>
          </pc:graphicFrameChg>
        </pc:sldLayoutChg>
        <pc:sldLayoutChg chg="modSp">
          <pc:chgData name="Chunyen Li (李 俊諺)" userId="40660eec-0f7d-4f76-820a-6b6c2202dd67" providerId="ADAL" clId="{BFF7D067-EF6C-45E0-A6DE-19D0DA41B8A1}" dt="2026-07-16T06:35:10.814" v="3"/>
          <pc:sldLayoutMkLst>
            <pc:docMk/>
            <pc:sldMasterMk cId="1045984656" sldId="2147483715"/>
            <pc:sldLayoutMk cId="2497573411" sldId="2147483722"/>
          </pc:sldLayoutMkLst>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2" creationId="{B331DE5E-FD41-810A-AE89-B673071CC021}"/>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4" creationId="{F83D3DEB-0D07-40CB-8FD6-719417EFB5BD}"/>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13" creationId="{B4E6F74A-00AA-41FF-B035-A70578A84549}"/>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14" creationId="{795A6576-6815-4087-B799-CBB2626FD37A}"/>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15" creationId="{E099CB60-AD94-4871-9519-AF7617285172}"/>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20" creationId="{3702953B-7F25-47FF-8D6A-96D6DDFE77C4}"/>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21" creationId="{E28F2A67-2936-427A-A2B3-716F93A3BBFF}"/>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22" creationId="{15657251-B37E-4F47-A90D-D771BA2E082D}"/>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23" creationId="{301DDC25-79A0-4AC8-B359-56891E63692B}"/>
            </ac:spMkLst>
          </pc:spChg>
          <pc:spChg chg="mod">
            <ac:chgData name="Chunyen Li (李 俊諺)" userId="40660eec-0f7d-4f76-820a-6b6c2202dd67" providerId="ADAL" clId="{BFF7D067-EF6C-45E0-A6DE-19D0DA41B8A1}" dt="2026-07-16T06:35:10.814" v="3"/>
            <ac:spMkLst>
              <pc:docMk/>
              <pc:sldMasterMk cId="1045984656" sldId="2147483715"/>
              <pc:sldLayoutMk cId="2497573411" sldId="2147483722"/>
              <ac:spMk id="24" creationId="{A553FF20-C946-44A1-8B04-31C340B554F3}"/>
            </ac:spMkLst>
          </pc:spChg>
        </pc:sldLayoutChg>
      </pc:sldMasterChg>
      <pc:sldMasterChg chg="modSp modSldLayout">
        <pc:chgData name="Chunyen Li (李 俊諺)" userId="40660eec-0f7d-4f76-820a-6b6c2202dd67" providerId="ADAL" clId="{BFF7D067-EF6C-45E0-A6DE-19D0DA41B8A1}" dt="2026-07-16T06:35:10.814" v="3"/>
        <pc:sldMasterMkLst>
          <pc:docMk/>
          <pc:sldMasterMk cId="161269800" sldId="2147483731"/>
        </pc:sldMasterMkLst>
        <pc:spChg chg="mod">
          <ac:chgData name="Chunyen Li (李 俊諺)" userId="40660eec-0f7d-4f76-820a-6b6c2202dd67" providerId="ADAL" clId="{BFF7D067-EF6C-45E0-A6DE-19D0DA41B8A1}" dt="2026-07-16T06:35:10.814" v="3"/>
          <ac:spMkLst>
            <pc:docMk/>
            <pc:sldMasterMk cId="161269800" sldId="2147483731"/>
            <ac:spMk id="6" creationId="{3440F440-ADE6-41E3-A456-AF062FB7F88D}"/>
          </ac:spMkLst>
        </pc:spChg>
        <pc:spChg chg="mod">
          <ac:chgData name="Chunyen Li (李 俊諺)" userId="40660eec-0f7d-4f76-820a-6b6c2202dd67" providerId="ADAL" clId="{BFF7D067-EF6C-45E0-A6DE-19D0DA41B8A1}" dt="2026-07-16T06:35:10.814" v="3"/>
          <ac:spMkLst>
            <pc:docMk/>
            <pc:sldMasterMk cId="161269800" sldId="2147483731"/>
            <ac:spMk id="22" creationId="{03A88E47-B49E-454B-AE75-E702952DF938}"/>
          </ac:spMkLst>
        </pc:spChg>
        <pc:spChg chg="mod">
          <ac:chgData name="Chunyen Li (李 俊諺)" userId="40660eec-0f7d-4f76-820a-6b6c2202dd67" providerId="ADAL" clId="{BFF7D067-EF6C-45E0-A6DE-19D0DA41B8A1}" dt="2026-07-16T06:35:10.814" v="3"/>
          <ac:spMkLst>
            <pc:docMk/>
            <pc:sldMasterMk cId="161269800" sldId="2147483731"/>
            <ac:spMk id="1026"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ac:spMk id="1027" creationId="{00000000-0000-0000-0000-000000000000}"/>
          </ac:spMkLst>
        </pc:spChg>
        <pc:graphicFrameChg chg="mod">
          <ac:chgData name="Chunyen Li (李 俊諺)" userId="40660eec-0f7d-4f76-820a-6b6c2202dd67" providerId="ADAL" clId="{BFF7D067-EF6C-45E0-A6DE-19D0DA41B8A1}" dt="2026-07-16T06:35:10.814" v="3"/>
          <ac:graphicFrameMkLst>
            <pc:docMk/>
            <pc:sldMasterMk cId="161269800" sldId="2147483731"/>
            <ac:graphicFrameMk id="7" creationId="{63CC2770-6CAA-4391-B269-187D7EF57FB3}"/>
          </ac:graphicFrameMkLst>
        </pc:graphicFrameChg>
        <pc:picChg chg="mod">
          <ac:chgData name="Chunyen Li (李 俊諺)" userId="40660eec-0f7d-4f76-820a-6b6c2202dd67" providerId="ADAL" clId="{BFF7D067-EF6C-45E0-A6DE-19D0DA41B8A1}" dt="2026-07-16T06:35:10.814" v="3"/>
          <ac:picMkLst>
            <pc:docMk/>
            <pc:sldMasterMk cId="161269800" sldId="2147483731"/>
            <ac:picMk id="11" creationId="{C489B1CC-457D-427F-8641-2F189BD4B2CA}"/>
          </ac:picMkLst>
        </pc:picChg>
        <pc:picChg chg="mod">
          <ac:chgData name="Chunyen Li (李 俊諺)" userId="40660eec-0f7d-4f76-820a-6b6c2202dd67" providerId="ADAL" clId="{BFF7D067-EF6C-45E0-A6DE-19D0DA41B8A1}" dt="2026-07-16T06:35:10.814" v="3"/>
          <ac:picMkLst>
            <pc:docMk/>
            <pc:sldMasterMk cId="161269800" sldId="2147483731"/>
            <ac:picMk id="12" creationId="{2D2C36FD-2792-4167-910A-8A002A6EDDD7}"/>
          </ac:picMkLst>
        </pc:picChg>
        <pc:picChg chg="mod">
          <ac:chgData name="Chunyen Li (李 俊諺)" userId="40660eec-0f7d-4f76-820a-6b6c2202dd67" providerId="ADAL" clId="{BFF7D067-EF6C-45E0-A6DE-19D0DA41B8A1}" dt="2026-07-16T06:35:10.814" v="3"/>
          <ac:picMkLst>
            <pc:docMk/>
            <pc:sldMasterMk cId="161269800" sldId="2147483731"/>
            <ac:picMk id="15" creationId="{9205E04B-E85A-4424-B42E-0B7D0AE17B1C}"/>
          </ac:picMkLst>
        </pc:picChg>
        <pc:sldLayoutChg chg="modSp">
          <pc:chgData name="Chunyen Li (李 俊諺)" userId="40660eec-0f7d-4f76-820a-6b6c2202dd67" providerId="ADAL" clId="{BFF7D067-EF6C-45E0-A6DE-19D0DA41B8A1}" dt="2026-07-16T06:35:10.814" v="3"/>
          <pc:sldLayoutMkLst>
            <pc:docMk/>
            <pc:sldMasterMk cId="161269800" sldId="2147483731"/>
            <pc:sldLayoutMk cId="2727901904" sldId="2147483732"/>
          </pc:sldLayoutMkLst>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15" creationId="{568A21FC-1FDF-4A24-82C9-6B6B37A46879}"/>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1" creationId="{AF711EEE-A9D7-46CD-B031-4CB1C1C27301}"/>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2" creationId="{69C97A44-66B1-4DCE-9518-83C32D7F8F1F}"/>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3" creationId="{234E9FEF-1635-4F31-BB9C-B3E318E89AAA}"/>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4" creationId="{9E734B9D-B179-4643-98B9-EBE23CFF5BCB}"/>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5" creationId="{5D1D1639-1D67-4DFF-BA3B-8F6E5629B67B}"/>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6" creationId="{ACE9A4B3-1FB1-473B-B81A-82379D4E3AE8}"/>
            </ac:spMkLst>
          </pc:spChg>
          <pc:spChg chg="mod">
            <ac:chgData name="Chunyen Li (李 俊諺)" userId="40660eec-0f7d-4f76-820a-6b6c2202dd67" providerId="ADAL" clId="{BFF7D067-EF6C-45E0-A6DE-19D0DA41B8A1}" dt="2026-07-16T06:35:10.814" v="3"/>
            <ac:spMkLst>
              <pc:docMk/>
              <pc:sldMasterMk cId="161269800" sldId="2147483731"/>
              <pc:sldLayoutMk cId="2727901904" sldId="2147483732"/>
              <ac:spMk id="27" creationId="{EE9ECFD1-D090-44BC-86DC-5DCC0E95E324}"/>
            </ac:spMkLst>
          </pc:spChg>
          <pc:picChg chg="mod">
            <ac:chgData name="Chunyen Li (李 俊諺)" userId="40660eec-0f7d-4f76-820a-6b6c2202dd67" providerId="ADAL" clId="{BFF7D067-EF6C-45E0-A6DE-19D0DA41B8A1}" dt="2026-07-16T06:35:10.814" v="3"/>
            <ac:picMkLst>
              <pc:docMk/>
              <pc:sldMasterMk cId="161269800" sldId="2147483731"/>
              <pc:sldLayoutMk cId="2727901904" sldId="2147483732"/>
              <ac:picMk id="28" creationId="{DB992DC3-1ACC-4BC1-9C22-E6C50F61A8D3}"/>
            </ac:picMkLst>
          </pc:picChg>
        </pc:sldLayoutChg>
        <pc:sldLayoutChg chg="modSp">
          <pc:chgData name="Chunyen Li (李 俊諺)" userId="40660eec-0f7d-4f76-820a-6b6c2202dd67" providerId="ADAL" clId="{BFF7D067-EF6C-45E0-A6DE-19D0DA41B8A1}" dt="2026-07-16T06:35:10.814" v="3"/>
          <pc:sldLayoutMkLst>
            <pc:docMk/>
            <pc:sldMasterMk cId="161269800" sldId="2147483731"/>
            <pc:sldLayoutMk cId="386603302" sldId="2147483733"/>
          </pc:sldLayoutMkLst>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2"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3"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4" creationId="{F83D3DEB-0D07-40CB-8FD6-719417EFB5BD}"/>
            </ac:spMkLst>
          </pc:spChg>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12" creationId="{5AD276B5-DC73-4146-8703-95225DCEE3E3}"/>
            </ac:spMkLst>
          </pc:spChg>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13" creationId="{D2A5324B-6FEE-4DF2-A914-C7DC80FBD05B}"/>
            </ac:spMkLst>
          </pc:spChg>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14" creationId="{23EEE3C7-857D-416E-9B2B-D8A246869B3E}"/>
            </ac:spMkLst>
          </pc:spChg>
          <pc:spChg chg="mod">
            <ac:chgData name="Chunyen Li (李 俊諺)" userId="40660eec-0f7d-4f76-820a-6b6c2202dd67" providerId="ADAL" clId="{BFF7D067-EF6C-45E0-A6DE-19D0DA41B8A1}" dt="2026-07-16T06:35:10.814" v="3"/>
            <ac:spMkLst>
              <pc:docMk/>
              <pc:sldMasterMk cId="161269800" sldId="2147483731"/>
              <pc:sldLayoutMk cId="386603302" sldId="2147483733"/>
              <ac:spMk id="26" creationId="{3B4572FA-8D65-4518-98CB-63507ACC89A4}"/>
            </ac:spMkLst>
          </pc:spChg>
          <pc:graphicFrameChg chg="mod">
            <ac:chgData name="Chunyen Li (李 俊諺)" userId="40660eec-0f7d-4f76-820a-6b6c2202dd67" providerId="ADAL" clId="{BFF7D067-EF6C-45E0-A6DE-19D0DA41B8A1}" dt="2026-07-16T06:35:10.814" v="3"/>
            <ac:graphicFrameMkLst>
              <pc:docMk/>
              <pc:sldMasterMk cId="161269800" sldId="2147483731"/>
              <pc:sldLayoutMk cId="386603302" sldId="2147483733"/>
              <ac:graphicFrameMk id="6" creationId="{83A71F68-6513-415C-AD40-969E8BCEA238}"/>
            </ac:graphicFrameMkLst>
          </pc:graphicFrameChg>
        </pc:sldLayoutChg>
        <pc:sldLayoutChg chg="modSp">
          <pc:chgData name="Chunyen Li (李 俊諺)" userId="40660eec-0f7d-4f76-820a-6b6c2202dd67" providerId="ADAL" clId="{BFF7D067-EF6C-45E0-A6DE-19D0DA41B8A1}" dt="2026-07-16T06:35:10.814" v="3"/>
          <pc:sldLayoutMkLst>
            <pc:docMk/>
            <pc:sldMasterMk cId="161269800" sldId="2147483731"/>
            <pc:sldLayoutMk cId="1439173849" sldId="2147483735"/>
          </pc:sldLayoutMkLst>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2"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15" creationId="{47EC81C4-51B7-4EEF-8DE8-49D877B4D5EC}"/>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16" creationId="{3ABBCA73-9ACD-4D28-A057-5A8E4DBBA23D}"/>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17" creationId="{8CBEE383-76D9-480F-8F7B-52C53081A67A}"/>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28" creationId="{4C4547D3-9F7B-452D-BFC8-AF003AD5EBD0}"/>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30" creationId="{1AE4D7F5-706C-4381-A9FD-71F91086F2B2}"/>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32" creationId="{7B874DDE-B9E0-420D-8E16-E322FD304BF3}"/>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35" creationId="{D5290A1F-C5C4-463C-9FC5-EC0AABC3B32F}"/>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36" creationId="{55CD5FDB-66BA-414E-B0C7-65F3EBBA2693}"/>
            </ac:spMkLst>
          </pc:spChg>
          <pc:spChg chg="mod">
            <ac:chgData name="Chunyen Li (李 俊諺)" userId="40660eec-0f7d-4f76-820a-6b6c2202dd67" providerId="ADAL" clId="{BFF7D067-EF6C-45E0-A6DE-19D0DA41B8A1}" dt="2026-07-16T06:35:10.814" v="3"/>
            <ac:spMkLst>
              <pc:docMk/>
              <pc:sldMasterMk cId="161269800" sldId="2147483731"/>
              <pc:sldLayoutMk cId="1439173849" sldId="2147483735"/>
              <ac:spMk id="37" creationId="{BA1C853B-808C-493C-9C12-A91C8C77858D}"/>
            </ac:spMkLst>
          </pc:spChg>
        </pc:sldLayoutChg>
        <pc:sldLayoutChg chg="modSp">
          <pc:chgData name="Chunyen Li (李 俊諺)" userId="40660eec-0f7d-4f76-820a-6b6c2202dd67" providerId="ADAL" clId="{BFF7D067-EF6C-45E0-A6DE-19D0DA41B8A1}" dt="2026-07-16T06:35:10.814" v="3"/>
          <pc:sldLayoutMkLst>
            <pc:docMk/>
            <pc:sldMasterMk cId="161269800" sldId="2147483731"/>
            <pc:sldLayoutMk cId="66235045" sldId="2147483736"/>
          </pc:sldLayoutMkLst>
          <pc:spChg chg="mod">
            <ac:chgData name="Chunyen Li (李 俊諺)" userId="40660eec-0f7d-4f76-820a-6b6c2202dd67" providerId="ADAL" clId="{BFF7D067-EF6C-45E0-A6DE-19D0DA41B8A1}" dt="2026-07-16T06:35:10.814" v="3"/>
            <ac:spMkLst>
              <pc:docMk/>
              <pc:sldMasterMk cId="161269800" sldId="2147483731"/>
              <pc:sldLayoutMk cId="66235045" sldId="2147483736"/>
              <ac:spMk id="2"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pc:sldLayoutMk cId="66235045" sldId="2147483736"/>
              <ac:spMk id="3" creationId="{00000000-0000-0000-0000-000000000000}"/>
            </ac:spMkLst>
          </pc:spChg>
          <pc:spChg chg="mod">
            <ac:chgData name="Chunyen Li (李 俊諺)" userId="40660eec-0f7d-4f76-820a-6b6c2202dd67" providerId="ADAL" clId="{BFF7D067-EF6C-45E0-A6DE-19D0DA41B8A1}" dt="2026-07-16T06:35:10.814" v="3"/>
            <ac:spMkLst>
              <pc:docMk/>
              <pc:sldMasterMk cId="161269800" sldId="2147483731"/>
              <pc:sldLayoutMk cId="66235045" sldId="2147483736"/>
              <ac:spMk id="4" creationId="{F8960A0A-092B-4319-8185-3AAFB8C1F062}"/>
            </ac:spMkLst>
          </pc:spChg>
          <pc:spChg chg="mod">
            <ac:chgData name="Chunyen Li (李 俊諺)" userId="40660eec-0f7d-4f76-820a-6b6c2202dd67" providerId="ADAL" clId="{BFF7D067-EF6C-45E0-A6DE-19D0DA41B8A1}" dt="2026-07-16T06:35:10.814" v="3"/>
            <ac:spMkLst>
              <pc:docMk/>
              <pc:sldMasterMk cId="161269800" sldId="2147483731"/>
              <pc:sldLayoutMk cId="66235045" sldId="2147483736"/>
              <ac:spMk id="7" creationId="{0249FF53-1257-4BAD-BE1B-76F32B91DB16}"/>
            </ac:spMkLst>
          </pc:spChg>
          <pc:spChg chg="mod">
            <ac:chgData name="Chunyen Li (李 俊諺)" userId="40660eec-0f7d-4f76-820a-6b6c2202dd67" providerId="ADAL" clId="{BFF7D067-EF6C-45E0-A6DE-19D0DA41B8A1}" dt="2026-07-16T06:35:10.814" v="3"/>
            <ac:spMkLst>
              <pc:docMk/>
              <pc:sldMasterMk cId="161269800" sldId="2147483731"/>
              <pc:sldLayoutMk cId="66235045" sldId="2147483736"/>
              <ac:spMk id="8" creationId="{3878CB30-2171-4D23-9A51-F1C66D75376E}"/>
            </ac:spMkLst>
          </pc:spChg>
          <pc:graphicFrameChg chg="mod">
            <ac:chgData name="Chunyen Li (李 俊諺)" userId="40660eec-0f7d-4f76-820a-6b6c2202dd67" providerId="ADAL" clId="{BFF7D067-EF6C-45E0-A6DE-19D0DA41B8A1}" dt="2026-07-16T06:35:10.814" v="3"/>
            <ac:graphicFrameMkLst>
              <pc:docMk/>
              <pc:sldMasterMk cId="161269800" sldId="2147483731"/>
              <pc:sldLayoutMk cId="66235045" sldId="2147483736"/>
              <ac:graphicFrameMk id="6" creationId="{61133E61-B4FF-4268-AE06-99469B145BC5}"/>
            </ac:graphicFrameMkLst>
          </pc:graphicFrameChg>
        </pc:sldLayoutChg>
        <pc:sldLayoutChg chg="modSp">
          <pc:chgData name="Chunyen Li (李 俊諺)" userId="40660eec-0f7d-4f76-820a-6b6c2202dd67" providerId="ADAL" clId="{BFF7D067-EF6C-45E0-A6DE-19D0DA41B8A1}" dt="2026-07-16T06:35:10.814" v="3"/>
          <pc:sldLayoutMkLst>
            <pc:docMk/>
            <pc:sldMasterMk cId="161269800" sldId="2147483731"/>
            <pc:sldLayoutMk cId="516068552" sldId="2147483738"/>
          </pc:sldLayoutMkLst>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4" creationId="{F83D3DEB-0D07-40CB-8FD6-719417EFB5BD}"/>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12" creationId="{676A0F88-5B0C-4051-B488-D4DC7997C455}"/>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14" creationId="{41E90245-38D7-4084-B8AC-E4E760241B62}"/>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16" creationId="{DBB84BA7-E9EC-408F-B46A-3AF7828C65C2}"/>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17" creationId="{6A1A729C-3617-444A-92E8-AFFD60FC6696}"/>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19" creationId="{6F7A155E-865F-4A38-BFA7-C7D4CB232D45}"/>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28" creationId="{D0CBD57C-5217-4F3E-8E9E-BF4925ED5D47}"/>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31" creationId="{10946034-B887-4CB8-9B28-0F6CD5BA9E04}"/>
            </ac:spMkLst>
          </pc:spChg>
          <pc:spChg chg="mod">
            <ac:chgData name="Chunyen Li (李 俊諺)" userId="40660eec-0f7d-4f76-820a-6b6c2202dd67" providerId="ADAL" clId="{BFF7D067-EF6C-45E0-A6DE-19D0DA41B8A1}" dt="2026-07-16T06:35:10.814" v="3"/>
            <ac:spMkLst>
              <pc:docMk/>
              <pc:sldMasterMk cId="161269800" sldId="2147483731"/>
              <pc:sldLayoutMk cId="516068552" sldId="2147483738"/>
              <ac:spMk id="32" creationId="{DEBDDFB6-57D7-4D16-985C-D81E66E2EFCF}"/>
            </ac:spMkLst>
          </pc:spChg>
          <pc:graphicFrameChg chg="mod">
            <ac:chgData name="Chunyen Li (李 俊諺)" userId="40660eec-0f7d-4f76-820a-6b6c2202dd67" providerId="ADAL" clId="{BFF7D067-EF6C-45E0-A6DE-19D0DA41B8A1}" dt="2026-07-16T06:35:10.814" v="3"/>
            <ac:graphicFrameMkLst>
              <pc:docMk/>
              <pc:sldMasterMk cId="161269800" sldId="2147483731"/>
              <pc:sldLayoutMk cId="516068552" sldId="2147483738"/>
              <ac:graphicFrameMk id="6" creationId="{83A71F68-6513-415C-AD40-969E8BCEA238}"/>
            </ac:graphicFrameMkLst>
          </pc:graphicFrameChg>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1"/>
            <a:ext cx="2950263" cy="496888"/>
          </a:xfrm>
          <a:prstGeom prst="rect">
            <a:avLst/>
          </a:prstGeom>
        </p:spPr>
        <p:txBody>
          <a:bodyPr vert="horz" lIns="91436" tIns="45718" rIns="91436" bIns="45718" rtlCol="0"/>
          <a:lstStyle>
            <a:lvl1pPr algn="l">
              <a:defRPr sz="1200"/>
            </a:lvl1pPr>
          </a:lstStyle>
          <a:p>
            <a:endParaRPr kumimoji="1" lang="ja-JP" altLang="en-US"/>
          </a:p>
        </p:txBody>
      </p:sp>
      <p:sp>
        <p:nvSpPr>
          <p:cNvPr id="3" name="日付プレースホルダ 2"/>
          <p:cNvSpPr>
            <a:spLocks noGrp="1"/>
          </p:cNvSpPr>
          <p:nvPr>
            <p:ph type="dt" sz="quarter" idx="1"/>
          </p:nvPr>
        </p:nvSpPr>
        <p:spPr>
          <a:xfrm>
            <a:off x="3855349" y="1"/>
            <a:ext cx="2950263" cy="496888"/>
          </a:xfrm>
          <a:prstGeom prst="rect">
            <a:avLst/>
          </a:prstGeom>
        </p:spPr>
        <p:txBody>
          <a:bodyPr vert="horz" lIns="91436" tIns="45718" rIns="91436" bIns="45718" rtlCol="0"/>
          <a:lstStyle>
            <a:lvl1pPr algn="r">
              <a:defRPr sz="1200"/>
            </a:lvl1pPr>
          </a:lstStyle>
          <a:p>
            <a:fld id="{CBC77E7A-8E6A-44FB-B598-A48D0B17C26A}" type="datetimeFigureOut">
              <a:rPr kumimoji="1" lang="ja-JP" altLang="en-US" smtClean="0"/>
              <a:pPr/>
              <a:t>2026/7/20</a:t>
            </a:fld>
            <a:endParaRPr kumimoji="1" lang="ja-JP" altLang="en-US"/>
          </a:p>
        </p:txBody>
      </p:sp>
      <p:sp>
        <p:nvSpPr>
          <p:cNvPr id="4" name="フッター プレースホルダ 3"/>
          <p:cNvSpPr>
            <a:spLocks noGrp="1"/>
          </p:cNvSpPr>
          <p:nvPr>
            <p:ph type="ftr" sz="quarter" idx="2"/>
          </p:nvPr>
        </p:nvSpPr>
        <p:spPr>
          <a:xfrm>
            <a:off x="885486" y="9440863"/>
            <a:ext cx="2950263" cy="496887"/>
          </a:xfrm>
          <a:prstGeom prst="rect">
            <a:avLst/>
          </a:prstGeom>
        </p:spPr>
        <p:txBody>
          <a:bodyPr vert="horz" lIns="91436" tIns="45718" rIns="91436" bIns="45718" rtlCol="0" anchor="b"/>
          <a:lstStyle>
            <a:lvl1pPr algn="l">
              <a:defRPr sz="1200"/>
            </a:lvl1pPr>
          </a:lstStyle>
          <a:p>
            <a:endParaRPr kumimoji="1" lang="ja-JP" altLang="en-US" b="1" dirty="0">
              <a:solidFill>
                <a:schemeClr val="bg1">
                  <a:lumMod val="50000"/>
                </a:schemeClr>
              </a:solidFill>
            </a:endParaRPr>
          </a:p>
        </p:txBody>
      </p:sp>
      <p:sp>
        <p:nvSpPr>
          <p:cNvPr id="5" name="スライド番号プレースホルダ 4"/>
          <p:cNvSpPr>
            <a:spLocks noGrp="1"/>
          </p:cNvSpPr>
          <p:nvPr>
            <p:ph type="sldNum" sz="quarter" idx="3"/>
          </p:nvPr>
        </p:nvSpPr>
        <p:spPr>
          <a:xfrm>
            <a:off x="3855349" y="9440863"/>
            <a:ext cx="2950263" cy="496887"/>
          </a:xfrm>
          <a:prstGeom prst="rect">
            <a:avLst/>
          </a:prstGeom>
        </p:spPr>
        <p:txBody>
          <a:bodyPr vert="horz" lIns="91436" tIns="45718" rIns="91436" bIns="45718" rtlCol="0" anchor="b"/>
          <a:lstStyle>
            <a:lvl1pPr algn="r">
              <a:defRPr sz="1200"/>
            </a:lvl1pPr>
          </a:lstStyle>
          <a:p>
            <a:fld id="{AEFD398C-E009-464E-829C-D9AEDEC23E35}" type="slidenum">
              <a:rPr kumimoji="1" lang="ja-JP" altLang="en-US" smtClean="0"/>
              <a:pPr/>
              <a:t>‹#›</a:t>
            </a:fld>
            <a:endParaRPr kumimoji="1" lang="ja-JP" altLang="en-US"/>
          </a:p>
        </p:txBody>
      </p:sp>
      <p:pic>
        <p:nvPicPr>
          <p:cNvPr id="6" name="図 5" descr="コピーライトグレー.png"/>
          <p:cNvPicPr>
            <a:picLocks noChangeAspect="1"/>
          </p:cNvPicPr>
          <p:nvPr/>
        </p:nvPicPr>
        <p:blipFill>
          <a:blip r:embed="rId2" cstate="print"/>
          <a:stretch>
            <a:fillRect/>
          </a:stretch>
        </p:blipFill>
        <p:spPr>
          <a:xfrm>
            <a:off x="120619" y="9707731"/>
            <a:ext cx="762115" cy="158483"/>
          </a:xfrm>
          <a:prstGeom prst="rect">
            <a:avLst/>
          </a:prstGeom>
        </p:spPr>
      </p:pic>
    </p:spTree>
    <p:extLst>
      <p:ext uri="{BB962C8B-B14F-4D97-AF65-F5344CB8AC3E}">
        <p14:creationId xmlns:p14="http://schemas.microsoft.com/office/powerpoint/2010/main" val="2811768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1"/>
            <a:ext cx="2950263" cy="496888"/>
          </a:xfrm>
          <a:prstGeom prst="rect">
            <a:avLst/>
          </a:prstGeom>
        </p:spPr>
        <p:txBody>
          <a:bodyPr vert="horz" lIns="91436" tIns="45718" rIns="91436" bIns="45718" rtlCol="0"/>
          <a:lstStyle>
            <a:lvl1pPr algn="l" fontAlgn="auto">
              <a:spcBef>
                <a:spcPts val="0"/>
              </a:spcBef>
              <a:spcAft>
                <a:spcPts val="0"/>
              </a:spcAft>
              <a:defRPr sz="1200">
                <a:latin typeface="+mn-lt"/>
                <a:ea typeface="+mn-ea"/>
              </a:defRPr>
            </a:lvl1pPr>
          </a:lstStyle>
          <a:p>
            <a:pPr>
              <a:defRPr/>
            </a:pPr>
            <a:endParaRPr lang="ja-JP" altLang="en-US"/>
          </a:p>
        </p:txBody>
      </p:sp>
      <p:sp>
        <p:nvSpPr>
          <p:cNvPr id="3" name="日付プレースホルダ 2"/>
          <p:cNvSpPr>
            <a:spLocks noGrp="1"/>
          </p:cNvSpPr>
          <p:nvPr>
            <p:ph type="dt" idx="1"/>
          </p:nvPr>
        </p:nvSpPr>
        <p:spPr>
          <a:xfrm>
            <a:off x="3855349" y="1"/>
            <a:ext cx="2950263" cy="496888"/>
          </a:xfrm>
          <a:prstGeom prst="rect">
            <a:avLst/>
          </a:prstGeom>
        </p:spPr>
        <p:txBody>
          <a:bodyPr vert="horz" lIns="91436" tIns="45718" rIns="91436" bIns="45718" rtlCol="0"/>
          <a:lstStyle>
            <a:lvl1pPr algn="r" fontAlgn="auto">
              <a:spcBef>
                <a:spcPts val="0"/>
              </a:spcBef>
              <a:spcAft>
                <a:spcPts val="0"/>
              </a:spcAft>
              <a:defRPr sz="1200">
                <a:latin typeface="+mn-lt"/>
                <a:ea typeface="+mn-ea"/>
              </a:defRPr>
            </a:lvl1pPr>
          </a:lstStyle>
          <a:p>
            <a:pPr>
              <a:defRPr/>
            </a:pPr>
            <a:fld id="{A114BEDE-A90C-4BC0-B377-A94EC6B612E5}" type="datetimeFigureOut">
              <a:rPr lang="ja-JP" altLang="en-US"/>
              <a:pPr>
                <a:defRPr/>
              </a:pPr>
              <a:t>2026/7/20</a:t>
            </a:fld>
            <a:endParaRPr lang="ja-JP" altLang="en-US"/>
          </a:p>
        </p:txBody>
      </p:sp>
      <p:sp>
        <p:nvSpPr>
          <p:cNvPr id="4" name="スライド イメージ プレースホルダ 3"/>
          <p:cNvSpPr>
            <a:spLocks noGrp="1" noRot="1" noChangeAspect="1"/>
          </p:cNvSpPr>
          <p:nvPr>
            <p:ph type="sldImg" idx="2"/>
          </p:nvPr>
        </p:nvSpPr>
        <p:spPr>
          <a:xfrm>
            <a:off x="920750" y="746125"/>
            <a:ext cx="4967288" cy="3725863"/>
          </a:xfrm>
          <a:prstGeom prst="rect">
            <a:avLst/>
          </a:prstGeom>
          <a:noFill/>
          <a:ln w="12700">
            <a:solidFill>
              <a:prstClr val="black"/>
            </a:solidFill>
          </a:ln>
        </p:spPr>
        <p:txBody>
          <a:bodyPr vert="horz" lIns="91436" tIns="45718" rIns="91436" bIns="45718" rtlCol="0" anchor="ctr"/>
          <a:lstStyle/>
          <a:p>
            <a:pPr lvl="0"/>
            <a:endParaRPr lang="ja-JP" altLang="en-US" noProof="0"/>
          </a:p>
        </p:txBody>
      </p:sp>
      <p:sp>
        <p:nvSpPr>
          <p:cNvPr id="5" name="ノート プレースホルダ 4"/>
          <p:cNvSpPr>
            <a:spLocks noGrp="1"/>
          </p:cNvSpPr>
          <p:nvPr>
            <p:ph type="body" sz="quarter" idx="3"/>
          </p:nvPr>
        </p:nvSpPr>
        <p:spPr>
          <a:xfrm>
            <a:off x="681198" y="4721226"/>
            <a:ext cx="5444806" cy="4471989"/>
          </a:xfrm>
          <a:prstGeom prst="rect">
            <a:avLst/>
          </a:prstGeom>
        </p:spPr>
        <p:txBody>
          <a:bodyPr vert="horz" lIns="91436" tIns="45718" rIns="91436" bIns="45718" rtlCol="0">
            <a:normAutofit/>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 5"/>
          <p:cNvSpPr>
            <a:spLocks noGrp="1"/>
          </p:cNvSpPr>
          <p:nvPr>
            <p:ph type="ftr" sz="quarter" idx="4"/>
          </p:nvPr>
        </p:nvSpPr>
        <p:spPr>
          <a:xfrm>
            <a:off x="1" y="9440863"/>
            <a:ext cx="2950263" cy="496887"/>
          </a:xfrm>
          <a:prstGeom prst="rect">
            <a:avLst/>
          </a:prstGeom>
        </p:spPr>
        <p:txBody>
          <a:bodyPr vert="horz" lIns="91436" tIns="45718" rIns="91436" bIns="45718" rtlCol="0" anchor="b"/>
          <a:lstStyle>
            <a:lvl1pPr algn="l" fontAlgn="auto">
              <a:spcBef>
                <a:spcPts val="0"/>
              </a:spcBef>
              <a:spcAft>
                <a:spcPts val="0"/>
              </a:spcAft>
              <a:defRPr sz="1200">
                <a:latin typeface="+mn-lt"/>
                <a:ea typeface="+mn-ea"/>
              </a:defRPr>
            </a:lvl1pPr>
          </a:lstStyle>
          <a:p>
            <a:pPr>
              <a:defRPr/>
            </a:pPr>
            <a:endParaRPr lang="ja-JP" altLang="en-US"/>
          </a:p>
        </p:txBody>
      </p:sp>
      <p:sp>
        <p:nvSpPr>
          <p:cNvPr id="7" name="スライド番号プレースホルダ 6"/>
          <p:cNvSpPr>
            <a:spLocks noGrp="1"/>
          </p:cNvSpPr>
          <p:nvPr>
            <p:ph type="sldNum" sz="quarter" idx="5"/>
          </p:nvPr>
        </p:nvSpPr>
        <p:spPr>
          <a:xfrm>
            <a:off x="3855349" y="9440863"/>
            <a:ext cx="2950263" cy="496887"/>
          </a:xfrm>
          <a:prstGeom prst="rect">
            <a:avLst/>
          </a:prstGeom>
        </p:spPr>
        <p:txBody>
          <a:bodyPr vert="horz" lIns="91436" tIns="45718" rIns="91436" bIns="45718" rtlCol="0" anchor="b"/>
          <a:lstStyle>
            <a:lvl1pPr algn="r" fontAlgn="auto">
              <a:spcBef>
                <a:spcPts val="0"/>
              </a:spcBef>
              <a:spcAft>
                <a:spcPts val="0"/>
              </a:spcAft>
              <a:defRPr sz="1200">
                <a:latin typeface="+mn-lt"/>
                <a:ea typeface="+mn-ea"/>
              </a:defRPr>
            </a:lvl1pPr>
          </a:lstStyle>
          <a:p>
            <a:pPr>
              <a:defRPr/>
            </a:pPr>
            <a:fld id="{C87DC591-074C-429E-ABE0-75906D5B43AF}" type="slidenum">
              <a:rPr lang="ja-JP" altLang="en-US"/>
              <a:pPr>
                <a:defRPr/>
              </a:pPr>
              <a:t>‹#›</a:t>
            </a:fld>
            <a:endParaRPr lang="ja-JP" altLang="en-US"/>
          </a:p>
        </p:txBody>
      </p:sp>
    </p:spTree>
    <p:extLst>
      <p:ext uri="{BB962C8B-B14F-4D97-AF65-F5344CB8AC3E}">
        <p14:creationId xmlns:p14="http://schemas.microsoft.com/office/powerpoint/2010/main" val="401820870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975" kern="1200">
        <a:solidFill>
          <a:schemeClr val="tx1"/>
        </a:solidFill>
        <a:latin typeface="+mn-lt"/>
        <a:ea typeface="+mn-ea"/>
        <a:cs typeface="+mn-cs"/>
      </a:defRPr>
    </a:lvl1pPr>
    <a:lvl2pPr marL="371464" algn="l" rtl="0" eaLnBrk="0" fontAlgn="base" hangingPunct="0">
      <a:spcBef>
        <a:spcPct val="30000"/>
      </a:spcBef>
      <a:spcAft>
        <a:spcPct val="0"/>
      </a:spcAft>
      <a:defRPr kumimoji="1" sz="975" kern="1200">
        <a:solidFill>
          <a:schemeClr val="tx1"/>
        </a:solidFill>
        <a:latin typeface="+mn-lt"/>
        <a:ea typeface="+mn-ea"/>
        <a:cs typeface="+mn-cs"/>
      </a:defRPr>
    </a:lvl2pPr>
    <a:lvl3pPr marL="742927" algn="l" rtl="0" eaLnBrk="0" fontAlgn="base" hangingPunct="0">
      <a:spcBef>
        <a:spcPct val="30000"/>
      </a:spcBef>
      <a:spcAft>
        <a:spcPct val="0"/>
      </a:spcAft>
      <a:defRPr kumimoji="1" sz="975" kern="1200">
        <a:solidFill>
          <a:schemeClr val="tx1"/>
        </a:solidFill>
        <a:latin typeface="+mn-lt"/>
        <a:ea typeface="+mn-ea"/>
        <a:cs typeface="+mn-cs"/>
      </a:defRPr>
    </a:lvl3pPr>
    <a:lvl4pPr marL="1114391" algn="l" rtl="0" eaLnBrk="0" fontAlgn="base" hangingPunct="0">
      <a:spcBef>
        <a:spcPct val="30000"/>
      </a:spcBef>
      <a:spcAft>
        <a:spcPct val="0"/>
      </a:spcAft>
      <a:defRPr kumimoji="1" sz="975" kern="1200">
        <a:solidFill>
          <a:schemeClr val="tx1"/>
        </a:solidFill>
        <a:latin typeface="+mn-lt"/>
        <a:ea typeface="+mn-ea"/>
        <a:cs typeface="+mn-cs"/>
      </a:defRPr>
    </a:lvl4pPr>
    <a:lvl5pPr marL="1485854" algn="l" rtl="0" eaLnBrk="0" fontAlgn="base" hangingPunct="0">
      <a:spcBef>
        <a:spcPct val="30000"/>
      </a:spcBef>
      <a:spcAft>
        <a:spcPct val="0"/>
      </a:spcAft>
      <a:defRPr kumimoji="1" sz="975" kern="1200">
        <a:solidFill>
          <a:schemeClr val="tx1"/>
        </a:solidFill>
        <a:latin typeface="+mn-lt"/>
        <a:ea typeface="+mn-ea"/>
        <a:cs typeface="+mn-cs"/>
      </a:defRPr>
    </a:lvl5pPr>
    <a:lvl6pPr marL="1857318" algn="l" defTabSz="742927" rtl="0" eaLnBrk="1" latinLnBrk="0" hangingPunct="1">
      <a:defRPr kumimoji="1" sz="975" kern="1200">
        <a:solidFill>
          <a:schemeClr val="tx1"/>
        </a:solidFill>
        <a:latin typeface="+mn-lt"/>
        <a:ea typeface="+mn-ea"/>
        <a:cs typeface="+mn-cs"/>
      </a:defRPr>
    </a:lvl6pPr>
    <a:lvl7pPr marL="2228781" algn="l" defTabSz="742927" rtl="0" eaLnBrk="1" latinLnBrk="0" hangingPunct="1">
      <a:defRPr kumimoji="1" sz="975" kern="1200">
        <a:solidFill>
          <a:schemeClr val="tx1"/>
        </a:solidFill>
        <a:latin typeface="+mn-lt"/>
        <a:ea typeface="+mn-ea"/>
        <a:cs typeface="+mn-cs"/>
      </a:defRPr>
    </a:lvl7pPr>
    <a:lvl8pPr marL="2600245" algn="l" defTabSz="742927" rtl="0" eaLnBrk="1" latinLnBrk="0" hangingPunct="1">
      <a:defRPr kumimoji="1" sz="975" kern="1200">
        <a:solidFill>
          <a:schemeClr val="tx1"/>
        </a:solidFill>
        <a:latin typeface="+mn-lt"/>
        <a:ea typeface="+mn-ea"/>
        <a:cs typeface="+mn-cs"/>
      </a:defRPr>
    </a:lvl8pPr>
    <a:lvl9pPr marL="2971709" algn="l" defTabSz="742927" rtl="0" eaLnBrk="1" latinLnBrk="0" hangingPunct="1">
      <a:defRPr kumimoji="1" sz="97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Hello everyone, my name is LI. Now I am the member of central research institute of electric power industry.</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And then, the topic I will talk about today is …</a:t>
            </a:r>
            <a:endParaRPr kumimoji="1" lang="ja-JP" altLang="ja-JP" sz="975" kern="1200">
              <a:solidFill>
                <a:schemeClr val="tx1"/>
              </a:solidFill>
              <a:effectLst/>
              <a:latin typeface="+mn-lt"/>
              <a:ea typeface="+mn-ea"/>
              <a:cs typeface="+mn-cs"/>
            </a:endParaRPr>
          </a:p>
          <a:p>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1</a:t>
            </a:fld>
            <a:endParaRPr lang="ja-JP" altLang="en-US"/>
          </a:p>
        </p:txBody>
      </p:sp>
    </p:spTree>
    <p:extLst>
      <p:ext uri="{BB962C8B-B14F-4D97-AF65-F5344CB8AC3E}">
        <p14:creationId xmlns:p14="http://schemas.microsoft.com/office/powerpoint/2010/main" val="1138425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206D7-B3F5-BB21-6AF2-BD9E5D93AD4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14038A-D300-235D-DCF7-A5B2E3BFAC78}"/>
              </a:ext>
            </a:extLst>
          </p:cNvPr>
          <p:cNvSpPr>
            <a:spLocks noGrp="1" noRot="1" noChangeAspect="1"/>
          </p:cNvSpPr>
          <p:nvPr>
            <p:ph type="sldImg"/>
          </p:nvPr>
        </p:nvSpPr>
        <p:spPr>
          <a:xfrm>
            <a:off x="920750" y="746125"/>
            <a:ext cx="4967288" cy="3725863"/>
          </a:xfrm>
        </p:spPr>
      </p:sp>
      <p:sp>
        <p:nvSpPr>
          <p:cNvPr id="3" name="ノート プレースホルダー 2">
            <a:extLst>
              <a:ext uri="{FF2B5EF4-FFF2-40B4-BE49-F238E27FC236}">
                <a16:creationId xmlns:a16="http://schemas.microsoft.com/office/drawing/2014/main" id="{47966A6C-5320-5B08-9278-B490A7F28D7B}"/>
              </a:ext>
            </a:extLst>
          </p:cNvPr>
          <p:cNvSpPr>
            <a:spLocks noGrp="1"/>
          </p:cNvSpPr>
          <p:nvPr>
            <p:ph type="body" idx="1"/>
          </p:nvPr>
        </p:nvSpPr>
        <p:spPr/>
        <p:txBody>
          <a:bodyPr/>
          <a:lstStyle/>
          <a:p>
            <a:pPr eaLnBrk="0" fontAlgn="base" hangingPunct="0"/>
            <a:r>
              <a:rPr kumimoji="1" lang="en-US" altLang="ja-JP" sz="975" kern="1200" dirty="0">
                <a:solidFill>
                  <a:schemeClr val="tx1"/>
                </a:solidFill>
                <a:effectLst/>
                <a:latin typeface="+mn-lt"/>
                <a:ea typeface="+mn-ea"/>
                <a:cs typeface="+mn-cs"/>
              </a:rPr>
              <a:t>The test scenario we consider here is, the volcanic ashfall on the sodium-cooled fast reactor.</a:t>
            </a:r>
            <a:endParaRPr kumimoji="1" lang="ja-JP" altLang="ja-JP" sz="975" kern="1200">
              <a:solidFill>
                <a:schemeClr val="tx1"/>
              </a:solidFill>
              <a:effectLst/>
              <a:latin typeface="+mn-lt"/>
              <a:ea typeface="+mn-ea"/>
              <a:cs typeface="+mn-cs"/>
            </a:endParaRPr>
          </a:p>
          <a:p>
            <a:pPr eaLnBrk="0" fontAlgn="base" hangingPunct="0"/>
            <a:r>
              <a:rPr kumimoji="1" lang="en-US" altLang="ja-JP" sz="975" kern="1200" dirty="0">
                <a:solidFill>
                  <a:schemeClr val="tx1"/>
                </a:solidFill>
                <a:effectLst/>
                <a:latin typeface="+mn-lt"/>
                <a:ea typeface="+mn-ea"/>
                <a:cs typeface="+mn-cs"/>
              </a:rPr>
              <a:t>There is an important system we want to introduce, which is ACS, that is air cooling system for decay heat removal.</a:t>
            </a:r>
            <a:r>
              <a:rPr kumimoji="1" lang="en-US" altLang="ja-JP" sz="975" strike="sngStrike"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pPr eaLnBrk="0" fontAlgn="base" hangingPunct="0"/>
            <a:r>
              <a:rPr kumimoji="1" lang="en-US" altLang="ja-JP" sz="975" b="1" kern="1200" dirty="0">
                <a:solidFill>
                  <a:schemeClr val="tx1"/>
                </a:solidFill>
                <a:effectLst/>
                <a:latin typeface="+mn-lt"/>
                <a:ea typeface="+mn-ea"/>
                <a:cs typeface="+mn-cs"/>
              </a:rPr>
              <a:t>In fact</a:t>
            </a:r>
            <a:r>
              <a:rPr kumimoji="1" lang="en-US" altLang="ja-JP" sz="975" kern="1200" dirty="0">
                <a:solidFill>
                  <a:schemeClr val="tx1"/>
                </a:solidFill>
                <a:effectLst/>
                <a:latin typeface="+mn-lt"/>
                <a:ea typeface="+mn-ea"/>
                <a:cs typeface="+mn-cs"/>
              </a:rPr>
              <a:t>, ACS could have the possibility to be failed due to the volcanic ash clogged on their filters.</a:t>
            </a:r>
            <a:endParaRPr kumimoji="1" lang="ja-JP" altLang="ja-JP" sz="975" kern="1200">
              <a:solidFill>
                <a:schemeClr val="tx1"/>
              </a:solidFill>
              <a:effectLst/>
              <a:latin typeface="+mn-lt"/>
              <a:ea typeface="+mn-ea"/>
              <a:cs typeface="+mn-cs"/>
            </a:endParaRPr>
          </a:p>
          <a:p>
            <a:pPr eaLnBrk="0" fontAlgn="base" hangingPunct="0"/>
            <a:r>
              <a:rPr kumimoji="1" lang="en-US" altLang="ja-JP" sz="975" b="1" kern="1200" dirty="0">
                <a:solidFill>
                  <a:schemeClr val="tx1"/>
                </a:solidFill>
                <a:effectLst/>
                <a:latin typeface="+mn-lt"/>
                <a:ea typeface="+mn-ea"/>
                <a:cs typeface="+mn-cs"/>
              </a:rPr>
              <a:t>However, </a:t>
            </a:r>
            <a:r>
              <a:rPr kumimoji="1" lang="en-US" altLang="ja-JP" sz="975" kern="1200" dirty="0">
                <a:solidFill>
                  <a:schemeClr val="tx1"/>
                </a:solidFill>
                <a:effectLst/>
                <a:latin typeface="+mn-lt"/>
                <a:ea typeface="+mn-ea"/>
                <a:cs typeface="+mn-cs"/>
              </a:rPr>
              <a:t>it can be repaired by replacing the malfunctional filters with a new one, which is also </a:t>
            </a:r>
            <a:r>
              <a:rPr kumimoji="1" lang="en-US" altLang="ja-JP" sz="975" b="1" kern="1200" dirty="0">
                <a:solidFill>
                  <a:schemeClr val="tx1"/>
                </a:solidFill>
                <a:effectLst/>
                <a:latin typeface="+mn-lt"/>
                <a:ea typeface="+mn-ea"/>
                <a:cs typeface="+mn-cs"/>
              </a:rPr>
              <a:t>the point we want to discuss in this study</a:t>
            </a:r>
            <a:endParaRPr kumimoji="1" lang="ja-JP" altLang="ja-JP" sz="975" kern="1200">
              <a:solidFill>
                <a:schemeClr val="tx1"/>
              </a:solidFill>
              <a:effectLst/>
              <a:latin typeface="+mn-lt"/>
              <a:ea typeface="+mn-ea"/>
              <a:cs typeface="+mn-cs"/>
            </a:endParaRPr>
          </a:p>
        </p:txBody>
      </p:sp>
      <p:sp>
        <p:nvSpPr>
          <p:cNvPr id="4" name="スライド番号プレースホルダー 3">
            <a:extLst>
              <a:ext uri="{FF2B5EF4-FFF2-40B4-BE49-F238E27FC236}">
                <a16:creationId xmlns:a16="http://schemas.microsoft.com/office/drawing/2014/main" id="{750E6737-1E1A-1AF9-E75C-4632EAF53A55}"/>
              </a:ext>
            </a:extLst>
          </p:cNvPr>
          <p:cNvSpPr>
            <a:spLocks noGrp="1"/>
          </p:cNvSpPr>
          <p:nvPr>
            <p:ph type="sldNum" sz="quarter" idx="5"/>
          </p:nvPr>
        </p:nvSpPr>
        <p:spPr/>
        <p:txBody>
          <a:bodyPr/>
          <a:lstStyle/>
          <a:p>
            <a:pPr>
              <a:defRPr/>
            </a:pPr>
            <a:fld id="{C87DC591-074C-429E-ABE0-75906D5B43AF}" type="slidenum">
              <a:rPr lang="ja-JP" altLang="en-US" smtClean="0"/>
              <a:pPr>
                <a:defRPr/>
              </a:pPr>
              <a:t>10</a:t>
            </a:fld>
            <a:endParaRPr lang="ja-JP" altLang="en-US"/>
          </a:p>
        </p:txBody>
      </p:sp>
    </p:spTree>
    <p:extLst>
      <p:ext uri="{BB962C8B-B14F-4D97-AF65-F5344CB8AC3E}">
        <p14:creationId xmlns:p14="http://schemas.microsoft.com/office/powerpoint/2010/main" val="3987157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The repair task we consider here, which is the filter-replacement process, is divided into two sub-tasks.</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irstly, the task 1 is THE preparation and isolation. In task1, The repair-man will open the hatch, inserts an isolation plate, and loosens the fasteners (fa</a:t>
            </a:r>
            <a:r>
              <a:rPr kumimoji="1" lang="ja-JP" altLang="ja-JP" sz="975" kern="1200">
                <a:solidFill>
                  <a:schemeClr val="tx1"/>
                </a:solidFill>
                <a:effectLst/>
                <a:latin typeface="+mn-lt"/>
                <a:ea typeface="+mn-ea"/>
                <a:cs typeface="+mn-cs"/>
              </a:rPr>
              <a:t>·</a:t>
            </a:r>
            <a:r>
              <a:rPr kumimoji="1" lang="en-US" altLang="ja-JP" sz="975" kern="1200" dirty="0" err="1">
                <a:solidFill>
                  <a:schemeClr val="tx1"/>
                </a:solidFill>
                <a:effectLst/>
                <a:latin typeface="+mn-lt"/>
                <a:ea typeface="+mn-ea"/>
                <a:cs typeface="+mn-cs"/>
              </a:rPr>
              <a:t>suh</a:t>
            </a:r>
            <a:r>
              <a:rPr kumimoji="1" lang="ja-JP" altLang="ja-JP" sz="975" kern="1200">
                <a:solidFill>
                  <a:schemeClr val="tx1"/>
                </a:solidFill>
                <a:effectLst/>
                <a:latin typeface="+mn-lt"/>
                <a:ea typeface="+mn-ea"/>
                <a:cs typeface="+mn-cs"/>
              </a:rPr>
              <a:t>·</a:t>
            </a:r>
            <a:r>
              <a:rPr kumimoji="1" lang="en-US" altLang="ja-JP" sz="975" kern="1200" dirty="0" err="1">
                <a:solidFill>
                  <a:schemeClr val="tx1"/>
                </a:solidFill>
                <a:effectLst/>
                <a:latin typeface="+mn-lt"/>
                <a:ea typeface="+mn-ea"/>
                <a:cs typeface="+mn-cs"/>
              </a:rPr>
              <a:t>nrz</a:t>
            </a:r>
            <a:r>
              <a:rPr kumimoji="1" lang="en-US" altLang="ja-JP" sz="975" kern="1200" dirty="0">
                <a:solidFill>
                  <a:schemeClr val="tx1"/>
                </a:solidFill>
                <a:effectLst/>
                <a:latin typeface="+mn-lt"/>
                <a:ea typeface="+mn-ea"/>
                <a:cs typeface="+mn-cs"/>
              </a:rPr>
              <a:t>).</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And then, Task 2 is the removal, installation, and restoration. In task2, the old filter will be removed, and the new filter will be installed, finally the repair-man will check the airflow direction and the sealing condition.</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However, the key dynamic trigger will be happened when the old filter is been removed, which would make the accumulated ash on the old filter dislodged into the indoor environment. As a result, the indoor ash concentration will be increased, and making the visibility decrease.</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At the same time, in fact, Task 2 is highly depending on the visual inspection, such as checking of the gasket condition, and the any sealing gaps, when inserting a new filter.</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Therefore, here, the repair task would change the working environment, and this changed environment will also do the feedback to the repair-man’s performance.</a:t>
            </a:r>
            <a:r>
              <a:rPr lang="ja-JP" altLang="ja-JP">
                <a:effectLst/>
              </a:rPr>
              <a:t> </a:t>
            </a:r>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11</a:t>
            </a:fld>
            <a:endParaRPr lang="ja-JP" altLang="en-US"/>
          </a:p>
        </p:txBody>
      </p:sp>
    </p:spTree>
    <p:extLst>
      <p:ext uri="{BB962C8B-B14F-4D97-AF65-F5344CB8AC3E}">
        <p14:creationId xmlns:p14="http://schemas.microsoft.com/office/powerpoint/2010/main" val="1876583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18D76-2B41-EDAD-FD31-C69FAEE140E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CB37BF2-2F43-FB37-9308-028B4EC49F8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221083E-64CF-BB59-0459-B22F27679F4B}"/>
              </a:ext>
            </a:extLst>
          </p:cNvPr>
          <p:cNvSpPr>
            <a:spLocks noGrp="1"/>
          </p:cNvSpPr>
          <p:nvPr>
            <p:ph type="body" idx="1"/>
          </p:nvPr>
        </p:nvSpPr>
        <p:spPr/>
        <p:txBody>
          <a:bodyPr/>
          <a:lstStyle/>
          <a:p>
            <a:r>
              <a:rPr kumimoji="1" lang="en-US" altLang="ja-JP" sz="900" kern="1200" dirty="0">
                <a:solidFill>
                  <a:schemeClr val="tx1"/>
                </a:solidFill>
                <a:effectLst/>
                <a:latin typeface="+mn-lt"/>
                <a:ea typeface="+mn-ea"/>
                <a:cs typeface="+mn-cs"/>
              </a:rPr>
              <a:t>And then, This figure shows the anticipated results that the proposed computational framework is planning to simulate and do the tracking.</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rstly, the top line shows the working environment. You can see that, when the old filter is removed, the ash concentration will suddenly increase and then gradually decrease because the ash diffuses out through the indoor environment.</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And then, the middle line shows the human repair process. You can observe that, Task 1 may proceed under relatively normal conditions, however, Task 2 may take a longer time after the visibility becomes poor.</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nally, the bottom line shows the machine status. Here you can see that, the machine remains stopped until the repair is successfully completed.</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The important point is that, these history date are connected to each other. The environmental dynamics will change the human transition probabilities, and the human outcome will also change the machine stat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However, it still should be emphasis here, that, this figure only shows an anticipated output of this framework, not the final validated simulation result.</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On the other hand, as mentioned before, in order to use this computational framework to simulate this scenario, there are some </a:t>
            </a:r>
            <a:r>
              <a:rPr kumimoji="1" lang="en-US" altLang="ja-JP" sz="900" b="1" kern="1200" dirty="0">
                <a:solidFill>
                  <a:schemeClr val="tx1"/>
                </a:solidFill>
                <a:effectLst/>
                <a:latin typeface="+mn-lt"/>
                <a:ea typeface="+mn-ea"/>
                <a:cs typeface="+mn-cs"/>
              </a:rPr>
              <a:t>Scenario-Specific Adaptation </a:t>
            </a:r>
            <a:r>
              <a:rPr kumimoji="1" lang="en-US" altLang="ja-JP" sz="900" kern="1200" dirty="0">
                <a:solidFill>
                  <a:schemeClr val="tx1"/>
                </a:solidFill>
                <a:effectLst/>
                <a:latin typeface="+mn-lt"/>
                <a:ea typeface="+mn-ea"/>
                <a:cs typeface="+mn-cs"/>
              </a:rPr>
              <a:t>needed to be done, which will be discuss in the following chapter.</a:t>
            </a:r>
            <a:r>
              <a:rPr lang="ja-JP" altLang="ja-JP">
                <a:effectLst/>
              </a:rPr>
              <a:t> </a:t>
            </a:r>
            <a:endParaRPr lang="en-US" altLang="ja-JP" sz="1200" dirty="0"/>
          </a:p>
        </p:txBody>
      </p:sp>
      <p:sp>
        <p:nvSpPr>
          <p:cNvPr id="4" name="スライド番号プレースホルダー 3">
            <a:extLst>
              <a:ext uri="{FF2B5EF4-FFF2-40B4-BE49-F238E27FC236}">
                <a16:creationId xmlns:a16="http://schemas.microsoft.com/office/drawing/2014/main" id="{119050CF-B3AB-E3D1-D859-A910184D98DE}"/>
              </a:ext>
            </a:extLst>
          </p:cNvPr>
          <p:cNvSpPr>
            <a:spLocks noGrp="1"/>
          </p:cNvSpPr>
          <p:nvPr>
            <p:ph type="sldNum" sz="quarter" idx="5"/>
          </p:nvPr>
        </p:nvSpPr>
        <p:spPr/>
        <p:txBody>
          <a:bodyPr/>
          <a:lstStyle/>
          <a:p>
            <a:pPr>
              <a:defRPr/>
            </a:pPr>
            <a:fld id="{C87DC591-074C-429E-ABE0-75906D5B43AF}" type="slidenum">
              <a:rPr lang="ja-JP" altLang="en-US" smtClean="0"/>
              <a:pPr>
                <a:defRPr/>
              </a:pPr>
              <a:t>12</a:t>
            </a:fld>
            <a:endParaRPr lang="ja-JP" altLang="en-US"/>
          </a:p>
        </p:txBody>
      </p:sp>
    </p:spTree>
    <p:extLst>
      <p:ext uri="{BB962C8B-B14F-4D97-AF65-F5344CB8AC3E}">
        <p14:creationId xmlns:p14="http://schemas.microsoft.com/office/powerpoint/2010/main" val="3868501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F639B-5390-8CA4-8360-F47BE5FF064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EF8148E-E761-46EE-7A33-EF65FDF71A27}"/>
              </a:ext>
            </a:extLst>
          </p:cNvPr>
          <p:cNvSpPr>
            <a:spLocks noGrp="1" noRot="1" noChangeAspect="1"/>
          </p:cNvSpPr>
          <p:nvPr>
            <p:ph type="sldImg"/>
          </p:nvPr>
        </p:nvSpPr>
        <p:spPr>
          <a:xfrm>
            <a:off x="920750" y="746125"/>
            <a:ext cx="4967288" cy="3725863"/>
          </a:xfrm>
        </p:spPr>
      </p:sp>
      <p:sp>
        <p:nvSpPr>
          <p:cNvPr id="3" name="ノート プレースホルダー 2">
            <a:extLst>
              <a:ext uri="{FF2B5EF4-FFF2-40B4-BE49-F238E27FC236}">
                <a16:creationId xmlns:a16="http://schemas.microsoft.com/office/drawing/2014/main" id="{E9756BC6-F161-5604-B5D6-4E52AC92EFE7}"/>
              </a:ext>
            </a:extLst>
          </p:cNvPr>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And then, I will talk about the Scenario-Specific Adaptation. </a:t>
            </a:r>
            <a:endParaRPr kumimoji="1" lang="ja-JP" altLang="ja-JP" sz="975" kern="1200">
              <a:solidFill>
                <a:schemeClr val="tx1"/>
              </a:solidFill>
              <a:effectLst/>
              <a:latin typeface="+mn-lt"/>
              <a:ea typeface="+mn-ea"/>
              <a:cs typeface="+mn-cs"/>
            </a:endParaRPr>
          </a:p>
        </p:txBody>
      </p:sp>
      <p:sp>
        <p:nvSpPr>
          <p:cNvPr id="4" name="スライド番号プレースホルダー 3">
            <a:extLst>
              <a:ext uri="{FF2B5EF4-FFF2-40B4-BE49-F238E27FC236}">
                <a16:creationId xmlns:a16="http://schemas.microsoft.com/office/drawing/2014/main" id="{A0162939-A057-7A2C-BFD1-65148A5D4E6D}"/>
              </a:ext>
            </a:extLst>
          </p:cNvPr>
          <p:cNvSpPr>
            <a:spLocks noGrp="1"/>
          </p:cNvSpPr>
          <p:nvPr>
            <p:ph type="sldNum" sz="quarter" idx="5"/>
          </p:nvPr>
        </p:nvSpPr>
        <p:spPr/>
        <p:txBody>
          <a:bodyPr/>
          <a:lstStyle/>
          <a:p>
            <a:pPr>
              <a:defRPr/>
            </a:pPr>
            <a:fld id="{C87DC591-074C-429E-ABE0-75906D5B43AF}" type="slidenum">
              <a:rPr lang="ja-JP" altLang="en-US" smtClean="0"/>
              <a:pPr>
                <a:defRPr/>
              </a:pPr>
              <a:t>13</a:t>
            </a:fld>
            <a:endParaRPr lang="ja-JP" altLang="en-US"/>
          </a:p>
        </p:txBody>
      </p:sp>
    </p:spTree>
    <p:extLst>
      <p:ext uri="{BB962C8B-B14F-4D97-AF65-F5344CB8AC3E}">
        <p14:creationId xmlns:p14="http://schemas.microsoft.com/office/powerpoint/2010/main" val="771972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B4194-65DB-9673-556A-3DB1B2BC1C0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3055077-713A-1AAF-6F25-354A3304EAF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7F82A92-3E0D-0360-E346-D103379E9488}"/>
              </a:ext>
            </a:extLst>
          </p:cNvPr>
          <p:cNvSpPr>
            <a:spLocks noGrp="1"/>
          </p:cNvSpPr>
          <p:nvPr>
            <p:ph type="body" idx="1"/>
          </p:nvPr>
        </p:nvSpPr>
        <p:spPr/>
        <p:txBody>
          <a:bodyPr/>
          <a:lstStyle/>
          <a:p>
            <a:r>
              <a:rPr kumimoji="1" lang="en-US" altLang="ja-JP" sz="900" kern="1200" dirty="0">
                <a:solidFill>
                  <a:schemeClr val="tx1"/>
                </a:solidFill>
                <a:effectLst/>
                <a:latin typeface="+mn-lt"/>
                <a:ea typeface="+mn-ea"/>
                <a:cs typeface="+mn-cs"/>
              </a:rPr>
              <a:t>For this scenario, we have defined different joint Markov states.</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or the filter part, They describe the filter is working or stopped,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On the other hand, For the repair task, they describe each sub-repair task is in progress, completed with success, or completed with failur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After defining these joint Markov states, we also set up a Markov chain structure. you can observe that, this structure includes two final failure paths: one is from Task 1’s failure, and the other is from Task 2’s failur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But, eventually, Both paths will enter the same final failure state, making the process cannot be returned to the normal operation.</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Here, it shows one of the advantages of using this Joint Markov states, that is, it can distinguish and record which sub task caused the final failure, even though both paths have the same final outcome.</a:t>
            </a:r>
            <a:r>
              <a:rPr lang="ja-JP" altLang="ja-JP">
                <a:effectLst/>
              </a:rPr>
              <a:t> </a:t>
            </a:r>
            <a:endParaRPr lang="en-US" altLang="ja-JP" sz="1200" dirty="0"/>
          </a:p>
        </p:txBody>
      </p:sp>
      <p:sp>
        <p:nvSpPr>
          <p:cNvPr id="4" name="スライド番号プレースホルダー 3">
            <a:extLst>
              <a:ext uri="{FF2B5EF4-FFF2-40B4-BE49-F238E27FC236}">
                <a16:creationId xmlns:a16="http://schemas.microsoft.com/office/drawing/2014/main" id="{4E0EB9AF-5C7D-AE9E-C828-04FD0A0E4749}"/>
              </a:ext>
            </a:extLst>
          </p:cNvPr>
          <p:cNvSpPr>
            <a:spLocks noGrp="1"/>
          </p:cNvSpPr>
          <p:nvPr>
            <p:ph type="sldNum" sz="quarter" idx="5"/>
          </p:nvPr>
        </p:nvSpPr>
        <p:spPr/>
        <p:txBody>
          <a:bodyPr/>
          <a:lstStyle/>
          <a:p>
            <a:pPr>
              <a:defRPr/>
            </a:pPr>
            <a:fld id="{C87DC591-074C-429E-ABE0-75906D5B43AF}" type="slidenum">
              <a:rPr lang="ja-JP" altLang="en-US" smtClean="0"/>
              <a:pPr>
                <a:defRPr/>
              </a:pPr>
              <a:t>14</a:t>
            </a:fld>
            <a:endParaRPr lang="ja-JP" altLang="en-US"/>
          </a:p>
        </p:txBody>
      </p:sp>
    </p:spTree>
    <p:extLst>
      <p:ext uri="{BB962C8B-B14F-4D97-AF65-F5344CB8AC3E}">
        <p14:creationId xmlns:p14="http://schemas.microsoft.com/office/powerpoint/2010/main" val="3506077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A3981-1A7B-B441-F1A5-2F6874640DA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8054688-396F-373B-D1D6-1D3D1771DAA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58E0CEA-5CFE-FF70-9074-AE8F8186917A}"/>
              </a:ext>
            </a:extLst>
          </p:cNvPr>
          <p:cNvSpPr>
            <a:spLocks noGrp="1"/>
          </p:cNvSpPr>
          <p:nvPr>
            <p:ph type="body" idx="1"/>
          </p:nvPr>
        </p:nvSpPr>
        <p:spPr/>
        <p:txBody>
          <a:bodyPr/>
          <a:lstStyle/>
          <a:p>
            <a:r>
              <a:rPr kumimoji="1" lang="en-US" altLang="ja-JP" sz="900" kern="1200" dirty="0">
                <a:solidFill>
                  <a:schemeClr val="tx1"/>
                </a:solidFill>
                <a:effectLst/>
                <a:latin typeface="+mn-lt"/>
                <a:ea typeface="+mn-ea"/>
                <a:cs typeface="+mn-cs"/>
              </a:rPr>
              <a:t>And then, we also modeled the physical working environment.</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In this study, we consider that, when the old filter is removed, a mass of volcanic ash will be released from the filter to the indoor working environment .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So Here, We use a three-dimensional diffusion equation based on Fick’s law to calculate the ash concentration as a function of position and tim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In this equation, M0 is the released ash mass, and D is the diffusion coefficient in air,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By using this equation, At every time step, Module 4 will calculate the ash concentration’s spatial distribution with considering all the contribution from each filter replacement </a:t>
            </a:r>
            <a:endParaRPr kumimoji="1" lang="ja-JP" altLang="ja-JP" sz="1000" kern="1200">
              <a:solidFill>
                <a:schemeClr val="tx1"/>
              </a:solidFill>
              <a:effectLst/>
              <a:latin typeface="+mn-lt"/>
              <a:ea typeface="+mn-ea"/>
              <a:cs typeface="+mn-cs"/>
            </a:endParaRPr>
          </a:p>
          <a:p>
            <a:endParaRPr kumimoji="1" lang="en-US" altLang="ja-JP" sz="900" kern="1200" dirty="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nally, This physical output, ash concentration, will become the starting point for updating visibility and, in turn, to affect following human performance’s evaluation.</a:t>
            </a:r>
            <a:r>
              <a:rPr lang="ja-JP" altLang="ja-JP">
                <a:effectLst/>
              </a:rPr>
              <a:t> </a:t>
            </a:r>
            <a:endParaRPr lang="en-US" altLang="ja-JP" sz="1200" dirty="0"/>
          </a:p>
        </p:txBody>
      </p:sp>
      <p:sp>
        <p:nvSpPr>
          <p:cNvPr id="4" name="スライド番号プレースホルダー 3">
            <a:extLst>
              <a:ext uri="{FF2B5EF4-FFF2-40B4-BE49-F238E27FC236}">
                <a16:creationId xmlns:a16="http://schemas.microsoft.com/office/drawing/2014/main" id="{8270F88C-1904-4AC8-638F-04707C824077}"/>
              </a:ext>
            </a:extLst>
          </p:cNvPr>
          <p:cNvSpPr>
            <a:spLocks noGrp="1"/>
          </p:cNvSpPr>
          <p:nvPr>
            <p:ph type="sldNum" sz="quarter" idx="5"/>
          </p:nvPr>
        </p:nvSpPr>
        <p:spPr/>
        <p:txBody>
          <a:bodyPr/>
          <a:lstStyle/>
          <a:p>
            <a:pPr>
              <a:defRPr/>
            </a:pPr>
            <a:fld id="{C87DC591-074C-429E-ABE0-75906D5B43AF}" type="slidenum">
              <a:rPr lang="ja-JP" altLang="en-US" smtClean="0"/>
              <a:pPr>
                <a:defRPr/>
              </a:pPr>
              <a:t>15</a:t>
            </a:fld>
            <a:endParaRPr lang="ja-JP" altLang="en-US"/>
          </a:p>
        </p:txBody>
      </p:sp>
    </p:spTree>
    <p:extLst>
      <p:ext uri="{BB962C8B-B14F-4D97-AF65-F5344CB8AC3E}">
        <p14:creationId xmlns:p14="http://schemas.microsoft.com/office/powerpoint/2010/main" val="3274642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2EA06-59EF-4110-8DFE-22449F3ED1E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FF688AE-BF9F-D511-A9CC-CBE0F5813F4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31A85AD-C100-56C5-191A-EDAAE65D6A5C}"/>
              </a:ext>
            </a:extLst>
          </p:cNvPr>
          <p:cNvSpPr>
            <a:spLocks noGrp="1"/>
          </p:cNvSpPr>
          <p:nvPr>
            <p:ph type="body" idx="1"/>
          </p:nvPr>
        </p:nvSpPr>
        <p:spPr/>
        <p:txBody>
          <a:bodyPr/>
          <a:lstStyle/>
          <a:p>
            <a:r>
              <a:rPr kumimoji="1" lang="en-US" altLang="ja-JP" sz="900" kern="1200" dirty="0">
                <a:solidFill>
                  <a:schemeClr val="tx1"/>
                </a:solidFill>
                <a:effectLst/>
                <a:latin typeface="+mn-lt"/>
                <a:ea typeface="+mn-ea"/>
                <a:cs typeface="+mn-cs"/>
              </a:rPr>
              <a:t>And then we will discuss how to link the dynamic environment to the human error probability.</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rstly, I will explain how we formulate the  Human Error Probability in this slid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Here, we use the IDHEAS-ECA approach, with several simplifying choices for this preliminary test.</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rst, we only consider Pc. This represents the success or failure outcome when the task is completed, which can fit definition of the human error probability model we use in this computational framework; therefore we do not include Pt her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Secondly , among the cognitive failure modes, we only select CFM4, which represents the Action Execution.</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Third, within PIFs we consider here, the environmental PIF is treated as a dynamic, time-varying variabl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nally, the two repair tasks have different formulation of human error probability, because Task 2 is more complicated and has a higher physical demand than Task 1.</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However, for both tasks, human error probability will be updated with environmental PIF corresponding to the current working environment’s states, which will be explained in the following slide.</a:t>
            </a:r>
            <a:r>
              <a:rPr lang="ja-JP" altLang="ja-JP">
                <a:effectLst/>
              </a:rPr>
              <a:t> </a:t>
            </a:r>
            <a:endParaRPr lang="en-US" altLang="ja-JP" sz="1200" dirty="0"/>
          </a:p>
        </p:txBody>
      </p:sp>
      <p:sp>
        <p:nvSpPr>
          <p:cNvPr id="4" name="スライド番号プレースホルダー 3">
            <a:extLst>
              <a:ext uri="{FF2B5EF4-FFF2-40B4-BE49-F238E27FC236}">
                <a16:creationId xmlns:a16="http://schemas.microsoft.com/office/drawing/2014/main" id="{AEF57518-8AE1-3C4E-350F-2226FF276B65}"/>
              </a:ext>
            </a:extLst>
          </p:cNvPr>
          <p:cNvSpPr>
            <a:spLocks noGrp="1"/>
          </p:cNvSpPr>
          <p:nvPr>
            <p:ph type="sldNum" sz="quarter" idx="5"/>
          </p:nvPr>
        </p:nvSpPr>
        <p:spPr/>
        <p:txBody>
          <a:bodyPr/>
          <a:lstStyle/>
          <a:p>
            <a:pPr>
              <a:defRPr/>
            </a:pPr>
            <a:fld id="{C87DC591-074C-429E-ABE0-75906D5B43AF}" type="slidenum">
              <a:rPr lang="ja-JP" altLang="en-US" smtClean="0"/>
              <a:pPr>
                <a:defRPr/>
              </a:pPr>
              <a:t>16</a:t>
            </a:fld>
            <a:endParaRPr lang="ja-JP" altLang="en-US"/>
          </a:p>
        </p:txBody>
      </p:sp>
    </p:spTree>
    <p:extLst>
      <p:ext uri="{BB962C8B-B14F-4D97-AF65-F5344CB8AC3E}">
        <p14:creationId xmlns:p14="http://schemas.microsoft.com/office/powerpoint/2010/main" val="25890962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E4674-D252-056F-40A1-DDC599C6FC1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9F8FB74-77F0-468E-A870-C472674DBF6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816DFD9-F82C-3346-A962-80E9F351F56E}"/>
              </a:ext>
            </a:extLst>
          </p:cNvPr>
          <p:cNvSpPr>
            <a:spLocks noGrp="1"/>
          </p:cNvSpPr>
          <p:nvPr>
            <p:ph type="body" idx="1"/>
          </p:nvPr>
        </p:nvSpPr>
        <p:spPr/>
        <p:txBody>
          <a:bodyPr/>
          <a:lstStyle/>
          <a:p>
            <a:pPr eaLnBrk="0" fontAlgn="base" hangingPunct="0"/>
            <a:r>
              <a:rPr kumimoji="1" lang="en-US" altLang="ja-JP" sz="900" kern="1200" dirty="0">
                <a:solidFill>
                  <a:schemeClr val="tx1"/>
                </a:solidFill>
                <a:effectLst/>
                <a:latin typeface="+mn-lt"/>
                <a:ea typeface="+mn-ea"/>
                <a:cs typeface="+mn-cs"/>
              </a:rPr>
              <a:t>For the repair task we consider </a:t>
            </a:r>
            <a:br>
              <a:rPr kumimoji="1" lang="en-US" altLang="ja-JP" sz="900" kern="1200" dirty="0">
                <a:solidFill>
                  <a:schemeClr val="tx1"/>
                </a:solidFill>
                <a:effectLst/>
                <a:latin typeface="+mn-lt"/>
                <a:ea typeface="+mn-ea"/>
                <a:cs typeface="+mn-cs"/>
              </a:rPr>
            </a:br>
            <a:endParaRPr kumimoji="1" lang="en-US" altLang="ja-JP" sz="900" kern="1200" dirty="0">
              <a:solidFill>
                <a:schemeClr val="tx1"/>
              </a:solidFill>
              <a:effectLst/>
              <a:latin typeface="+mn-lt"/>
              <a:ea typeface="+mn-ea"/>
              <a:cs typeface="+mn-cs"/>
            </a:endParaRPr>
          </a:p>
          <a:p>
            <a:pPr eaLnBrk="0" fontAlgn="base" hangingPunct="0"/>
            <a:r>
              <a:rPr kumimoji="1" lang="en-US" altLang="ja-JP" sz="900" kern="1200" dirty="0">
                <a:solidFill>
                  <a:schemeClr val="tx1"/>
                </a:solidFill>
                <a:effectLst/>
                <a:latin typeface="+mn-lt"/>
                <a:ea typeface="+mn-ea"/>
                <a:cs typeface="+mn-cs"/>
              </a:rPr>
              <a:t>So firstly, we will estimate the ash concentration in the working environment at each time step where the repair-man is located. </a:t>
            </a:r>
            <a:br>
              <a:rPr kumimoji="1" lang="en-US" altLang="ja-JP" sz="900" kern="1200" dirty="0">
                <a:solidFill>
                  <a:schemeClr val="tx1"/>
                </a:solidFill>
                <a:effectLst/>
                <a:latin typeface="+mn-lt"/>
                <a:ea typeface="+mn-ea"/>
                <a:cs typeface="+mn-cs"/>
              </a:rPr>
            </a:br>
            <a:r>
              <a:rPr kumimoji="1" lang="en-US" altLang="ja-JP" sz="900" kern="1200" dirty="0">
                <a:solidFill>
                  <a:schemeClr val="tx1"/>
                </a:solidFill>
                <a:effectLst/>
                <a:latin typeface="+mn-lt"/>
                <a:ea typeface="+mn-ea"/>
                <a:cs typeface="+mn-cs"/>
              </a:rPr>
              <a:t>And then, the estimated ash concentration will be used to estimate the visibility, which means the visible distance. </a:t>
            </a:r>
            <a:br>
              <a:rPr kumimoji="1" lang="en-US" altLang="ja-JP" sz="900" kern="1200" dirty="0">
                <a:solidFill>
                  <a:schemeClr val="tx1"/>
                </a:solidFill>
                <a:effectLst/>
                <a:latin typeface="+mn-lt"/>
                <a:ea typeface="+mn-ea"/>
                <a:cs typeface="+mn-cs"/>
              </a:rPr>
            </a:br>
            <a:r>
              <a:rPr kumimoji="1" lang="en-US" altLang="ja-JP" sz="900" kern="1200" dirty="0">
                <a:solidFill>
                  <a:schemeClr val="tx1"/>
                </a:solidFill>
                <a:effectLst/>
                <a:latin typeface="+mn-lt"/>
                <a:ea typeface="+mn-ea"/>
                <a:cs typeface="+mn-cs"/>
              </a:rPr>
              <a:t>Following which, the visibility will be used to estimate the environmental PIF.</a:t>
            </a:r>
            <a:endParaRPr kumimoji="1" lang="ja-JP" altLang="ja-JP" sz="11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When visibility is below to the arm’s reach of 1 meter, useful visual information is almost unavailable. Therefore, here, the maximum penalty of 5 for environmental PIF is applied.</a:t>
            </a:r>
            <a:endParaRPr kumimoji="1" lang="ja-JP" altLang="ja-JP" sz="1000" kern="1200">
              <a:solidFill>
                <a:schemeClr val="tx1"/>
              </a:solidFill>
              <a:effectLst/>
              <a:latin typeface="+mn-lt"/>
              <a:ea typeface="+mn-ea"/>
              <a:cs typeface="+mn-cs"/>
            </a:endParaRPr>
          </a:p>
          <a:p>
            <a:pPr eaLnBrk="0" fontAlgn="base" hangingPunct="0"/>
            <a:r>
              <a:rPr kumimoji="1" lang="en-US" altLang="ja-JP" sz="900" kern="1200" dirty="0">
                <a:solidFill>
                  <a:schemeClr val="tx1"/>
                </a:solidFill>
                <a:effectLst/>
                <a:latin typeface="+mn-lt"/>
                <a:ea typeface="+mn-ea"/>
                <a:cs typeface="+mn-cs"/>
              </a:rPr>
              <a:t>On the other hand, when the visibility is above 6 meters, the surroundings is assumed to be clearly enough. The factor then returns to one, which means no additional penalty for the environmental PIF.</a:t>
            </a:r>
            <a:endParaRPr kumimoji="1" lang="ja-JP" altLang="ja-JP" sz="1100" kern="1200">
              <a:solidFill>
                <a:schemeClr val="tx1"/>
              </a:solidFill>
              <a:effectLst/>
              <a:latin typeface="+mn-lt"/>
              <a:ea typeface="+mn-ea"/>
              <a:cs typeface="+mn-cs"/>
            </a:endParaRPr>
          </a:p>
          <a:p>
            <a:pPr eaLnBrk="0" fontAlgn="base" hangingPunct="0"/>
            <a:r>
              <a:rPr kumimoji="1" lang="en-US" altLang="ja-JP" sz="900" kern="1200" dirty="0">
                <a:solidFill>
                  <a:schemeClr val="tx1"/>
                </a:solidFill>
                <a:effectLst/>
                <a:latin typeface="+mn-lt"/>
                <a:ea typeface="+mn-ea"/>
                <a:cs typeface="+mn-cs"/>
              </a:rPr>
              <a:t>Between 1 and 6 meters, in this research, the environmental PIF is given with a continuous change following the exponential decay.</a:t>
            </a:r>
            <a:endParaRPr kumimoji="1" lang="ja-JP" altLang="ja-JP" sz="1100" kern="1200">
              <a:solidFill>
                <a:schemeClr val="tx1"/>
              </a:solidFill>
              <a:effectLst/>
              <a:latin typeface="+mn-lt"/>
              <a:ea typeface="+mn-ea"/>
              <a:cs typeface="+mn-cs"/>
            </a:endParaRPr>
          </a:p>
          <a:p>
            <a:endParaRPr kumimoji="1" lang="en-US" altLang="ja-JP" sz="900" kern="1200" dirty="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Therefore, the model is not just giving a fixed human error probability to the entire repair process. Instead, the human error probability responds to the actual environmental dynamics, finally affecting the sampling task is success or failure after the task is completion..</a:t>
            </a:r>
            <a:r>
              <a:rPr lang="ja-JP" altLang="ja-JP">
                <a:effectLst/>
              </a:rPr>
              <a:t> </a:t>
            </a:r>
            <a:endParaRPr lang="en-US" altLang="ja-JP" sz="1200" dirty="0"/>
          </a:p>
        </p:txBody>
      </p:sp>
      <p:sp>
        <p:nvSpPr>
          <p:cNvPr id="4" name="スライド番号プレースホルダー 3">
            <a:extLst>
              <a:ext uri="{FF2B5EF4-FFF2-40B4-BE49-F238E27FC236}">
                <a16:creationId xmlns:a16="http://schemas.microsoft.com/office/drawing/2014/main" id="{F8664923-A1FB-1F18-895D-7089996A10CF}"/>
              </a:ext>
            </a:extLst>
          </p:cNvPr>
          <p:cNvSpPr>
            <a:spLocks noGrp="1"/>
          </p:cNvSpPr>
          <p:nvPr>
            <p:ph type="sldNum" sz="quarter" idx="5"/>
          </p:nvPr>
        </p:nvSpPr>
        <p:spPr/>
        <p:txBody>
          <a:bodyPr/>
          <a:lstStyle/>
          <a:p>
            <a:pPr>
              <a:defRPr/>
            </a:pPr>
            <a:fld id="{C87DC591-074C-429E-ABE0-75906D5B43AF}" type="slidenum">
              <a:rPr lang="ja-JP" altLang="en-US" smtClean="0"/>
              <a:pPr>
                <a:defRPr/>
              </a:pPr>
              <a:t>17</a:t>
            </a:fld>
            <a:endParaRPr lang="ja-JP" altLang="en-US"/>
          </a:p>
        </p:txBody>
      </p:sp>
    </p:spTree>
    <p:extLst>
      <p:ext uri="{BB962C8B-B14F-4D97-AF65-F5344CB8AC3E}">
        <p14:creationId xmlns:p14="http://schemas.microsoft.com/office/powerpoint/2010/main" val="30732381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28F90-C32B-4B6B-4191-50C776F9151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B3A58B5-698E-C179-8257-E0888C28444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5C1BC78-3C54-E89B-DFCE-7BE51056149B}"/>
              </a:ext>
            </a:extLst>
          </p:cNvPr>
          <p:cNvSpPr>
            <a:spLocks noGrp="1"/>
          </p:cNvSpPr>
          <p:nvPr>
            <p:ph type="body" idx="1"/>
          </p:nvPr>
        </p:nvSpPr>
        <p:spPr/>
        <p:txBody>
          <a:bodyPr/>
          <a:lstStyle/>
          <a:p>
            <a:r>
              <a:rPr kumimoji="1" lang="en-US" altLang="ja-JP" sz="900" kern="1200" dirty="0">
                <a:solidFill>
                  <a:schemeClr val="tx1"/>
                </a:solidFill>
                <a:effectLst/>
                <a:latin typeface="+mn-lt"/>
                <a:ea typeface="+mn-ea"/>
                <a:cs typeface="+mn-cs"/>
              </a:rPr>
              <a:t>Here we consider that, the visibility change also can affect how quickly the repair can be finished, which is related to the repair completion rate, mu.</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However, a simple exponential distribution only assumes that the mu remains constant throughout the task, which would be not appropriate,  especially for the repair task containing several sequential steps.</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Therefore, we start to consider the Erlang distribution.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Although both exponential distribution and Erlang distribution belong to the Gamma distribution’s family, for the Erlang distribution, the mu can increase as the cumulative repair time is increased. In other words, as the repair-man finish more steps, the task will become more close to the task completion.</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So, comeback to the environment’s influence, here, updated visibility will used to update the Erlang parameter, beta. </a:t>
            </a:r>
          </a:p>
          <a:p>
            <a:r>
              <a:rPr kumimoji="1" lang="en-US" altLang="ja-JP" sz="900" kern="1200" dirty="0">
                <a:solidFill>
                  <a:schemeClr val="tx1"/>
                </a:solidFill>
                <a:effectLst/>
                <a:latin typeface="+mn-lt"/>
                <a:ea typeface="+mn-ea"/>
                <a:cs typeface="+mn-cs"/>
              </a:rPr>
              <a:t>And then, the updated beta and the cumulative repair time will be used to update mu.</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Meanwhile, the calculated response surface of mu for task1 and task2 are also shown as below. It can be observed that, although mu can increase as cumulative repair time is increasing, but lower visibility will suppress this increase, making the task would need to take a longer time to be completed.</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 </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As a short summary here, therefore, the environment’s change has two effects at the same time.</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First, the degraded visibility will increase the human error probability, which can affect the repair task is success or failure after the task is completion.</a:t>
            </a:r>
            <a:endParaRPr kumimoji="1" lang="ja-JP" altLang="ja-JP" sz="1000" kern="1200">
              <a:solidFill>
                <a:schemeClr val="tx1"/>
              </a:solidFill>
              <a:effectLst/>
              <a:latin typeface="+mn-lt"/>
              <a:ea typeface="+mn-ea"/>
              <a:cs typeface="+mn-cs"/>
            </a:endParaRPr>
          </a:p>
          <a:p>
            <a:r>
              <a:rPr kumimoji="1" lang="en-US" altLang="ja-JP" sz="900" kern="1200" dirty="0">
                <a:solidFill>
                  <a:schemeClr val="tx1"/>
                </a:solidFill>
                <a:effectLst/>
                <a:latin typeface="+mn-lt"/>
                <a:ea typeface="+mn-ea"/>
                <a:cs typeface="+mn-cs"/>
              </a:rPr>
              <a:t>Second, the degraded visibility also can reduce the repair completion rate, mu, which would make a task would need to take a longer time to be completed.</a:t>
            </a:r>
            <a:r>
              <a:rPr lang="ja-JP" altLang="ja-JP">
                <a:effectLst/>
              </a:rPr>
              <a:t> </a:t>
            </a:r>
            <a:endParaRPr lang="en-US" altLang="ja-JP" sz="1200" dirty="0"/>
          </a:p>
        </p:txBody>
      </p:sp>
      <p:sp>
        <p:nvSpPr>
          <p:cNvPr id="4" name="スライド番号プレースホルダー 3">
            <a:extLst>
              <a:ext uri="{FF2B5EF4-FFF2-40B4-BE49-F238E27FC236}">
                <a16:creationId xmlns:a16="http://schemas.microsoft.com/office/drawing/2014/main" id="{E06E1223-3281-9749-E19D-3C19F13710D0}"/>
              </a:ext>
            </a:extLst>
          </p:cNvPr>
          <p:cNvSpPr>
            <a:spLocks noGrp="1"/>
          </p:cNvSpPr>
          <p:nvPr>
            <p:ph type="sldNum" sz="quarter" idx="5"/>
          </p:nvPr>
        </p:nvSpPr>
        <p:spPr/>
        <p:txBody>
          <a:bodyPr/>
          <a:lstStyle/>
          <a:p>
            <a:pPr>
              <a:defRPr/>
            </a:pPr>
            <a:fld id="{C87DC591-074C-429E-ABE0-75906D5B43AF}" type="slidenum">
              <a:rPr lang="ja-JP" altLang="en-US" smtClean="0"/>
              <a:pPr>
                <a:defRPr/>
              </a:pPr>
              <a:t>18</a:t>
            </a:fld>
            <a:endParaRPr lang="ja-JP" altLang="en-US"/>
          </a:p>
        </p:txBody>
      </p:sp>
    </p:spTree>
    <p:extLst>
      <p:ext uri="{BB962C8B-B14F-4D97-AF65-F5344CB8AC3E}">
        <p14:creationId xmlns:p14="http://schemas.microsoft.com/office/powerpoint/2010/main" val="2668983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Here is the summary.</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In this study, we proposed Co-CMMC method for dynamic HRA.</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irst, because the Co-</a:t>
            </a:r>
            <a:r>
              <a:rPr kumimoji="1" lang="en-US" altLang="ja-JP" sz="975" kern="1200" dirty="0" err="1">
                <a:solidFill>
                  <a:schemeClr val="tx1"/>
                </a:solidFill>
                <a:effectLst/>
                <a:latin typeface="+mn-lt"/>
                <a:ea typeface="+mn-ea"/>
                <a:cs typeface="+mn-cs"/>
              </a:rPr>
              <a:t>Cmmc</a:t>
            </a:r>
            <a:r>
              <a:rPr kumimoji="1" lang="en-US" altLang="ja-JP" sz="975" kern="1200" dirty="0">
                <a:solidFill>
                  <a:schemeClr val="tx1"/>
                </a:solidFill>
                <a:effectLst/>
                <a:latin typeface="+mn-lt"/>
                <a:ea typeface="+mn-ea"/>
                <a:cs typeface="+mn-cs"/>
              </a:rPr>
              <a:t> method keeps the path of sampling at each timestep, so it can respond to a continuously changing condition at a higher temporal resolution.</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In addition, one of the characteristics of co-CMMC is that, It introduces the joint Markov states, which makes the repair in progress, successful completion, and failed completion can be separated.</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urthermore, based on this Co-CMMC method, a 4-modules computational framework is also proposed, which closes the feedback loop among human actions, machine states, and the working environment’s dynamic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inally, this research also used the volcanic-ash-fall scenario as the example to show how to do the necessary **Scenario-Specific Adaptation for enabling this computational framework to do simulation.**</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In short, the current work defines the methodology and the scenario settings.</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Therefore ,for the future work, we will transcript this current model into coding and conducting numerical analysis. On the other hand, we will also consider how to conduct parameter calibration, sensitivity analysis, and model validation.</a:t>
            </a:r>
            <a:r>
              <a:rPr lang="ja-JP" altLang="ja-JP">
                <a:effectLst/>
              </a:rPr>
              <a:t> </a:t>
            </a:r>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19</a:t>
            </a:fld>
            <a:endParaRPr lang="ja-JP" altLang="en-US"/>
          </a:p>
        </p:txBody>
      </p:sp>
    </p:spTree>
    <p:extLst>
      <p:ext uri="{BB962C8B-B14F-4D97-AF65-F5344CB8AC3E}">
        <p14:creationId xmlns:p14="http://schemas.microsoft.com/office/powerpoint/2010/main" val="4060940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706E7-A917-9615-5C97-BF517D47287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B5ACEA3-6C3D-45FD-3A4B-9FBD76404375}"/>
              </a:ext>
            </a:extLst>
          </p:cNvPr>
          <p:cNvSpPr>
            <a:spLocks noGrp="1" noRot="1" noChangeAspect="1"/>
          </p:cNvSpPr>
          <p:nvPr>
            <p:ph type="sldImg"/>
          </p:nvPr>
        </p:nvSpPr>
        <p:spPr>
          <a:xfrm>
            <a:off x="920750" y="746125"/>
            <a:ext cx="4967288" cy="3725863"/>
          </a:xfrm>
        </p:spPr>
      </p:sp>
      <p:sp>
        <p:nvSpPr>
          <p:cNvPr id="3" name="ノート プレースホルダー 2">
            <a:extLst>
              <a:ext uri="{FF2B5EF4-FFF2-40B4-BE49-F238E27FC236}">
                <a16:creationId xmlns:a16="http://schemas.microsoft.com/office/drawing/2014/main" id="{F8D9B6A2-C991-10C7-C002-BD992AB81B14}"/>
              </a:ext>
            </a:extLst>
          </p:cNvPr>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Firstly, I will talk about the background introduction.</a:t>
            </a:r>
            <a:r>
              <a:rPr lang="ja-JP" altLang="ja-JP">
                <a:effectLst/>
              </a:rPr>
              <a:t> </a:t>
            </a:r>
            <a:endParaRPr kumimoji="1" lang="en-US" altLang="ja-JP" dirty="0"/>
          </a:p>
        </p:txBody>
      </p:sp>
      <p:sp>
        <p:nvSpPr>
          <p:cNvPr id="4" name="スライド番号プレースホルダー 3">
            <a:extLst>
              <a:ext uri="{FF2B5EF4-FFF2-40B4-BE49-F238E27FC236}">
                <a16:creationId xmlns:a16="http://schemas.microsoft.com/office/drawing/2014/main" id="{1C57CA41-E3A7-1A1F-B741-971E769E39E7}"/>
              </a:ext>
            </a:extLst>
          </p:cNvPr>
          <p:cNvSpPr>
            <a:spLocks noGrp="1"/>
          </p:cNvSpPr>
          <p:nvPr>
            <p:ph type="sldNum" sz="quarter" idx="5"/>
          </p:nvPr>
        </p:nvSpPr>
        <p:spPr/>
        <p:txBody>
          <a:bodyPr/>
          <a:lstStyle/>
          <a:p>
            <a:pPr>
              <a:defRPr/>
            </a:pPr>
            <a:fld id="{C87DC591-074C-429E-ABE0-75906D5B43AF}" type="slidenum">
              <a:rPr lang="ja-JP" altLang="en-US" smtClean="0"/>
              <a:pPr>
                <a:defRPr/>
              </a:pPr>
              <a:t>2</a:t>
            </a:fld>
            <a:endParaRPr lang="ja-JP" altLang="en-US"/>
          </a:p>
        </p:txBody>
      </p:sp>
    </p:spTree>
    <p:extLst>
      <p:ext uri="{BB962C8B-B14F-4D97-AF65-F5344CB8AC3E}">
        <p14:creationId xmlns:p14="http://schemas.microsoft.com/office/powerpoint/2010/main" val="653229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Conventional Human Reliability Analysis often starts from a predefined scenario and fixed conditions.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This is useful for many applications, but real accident conditions may change when the operator is working</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or example, the machine may fail or recover. The working environment may become hot, or more contaminated.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Meanwhile, Human actions may also change the machine and the working environment.</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Therefore, the objective of this study is to build a computational framework that can simulate the dynamic interactions between humans, machines, and the working environment over time.</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So, the main question is: How can we model the dynamic human action together with time-varying machine and environmental conditions?</a:t>
            </a:r>
            <a:endParaRPr kumimoji="1" lang="ja-JP" altLang="ja-JP" sz="975" kern="1200">
              <a:solidFill>
                <a:schemeClr val="tx1"/>
              </a:solidFill>
              <a:effectLst/>
              <a:latin typeface="+mn-lt"/>
              <a:ea typeface="+mn-ea"/>
              <a:cs typeface="+mn-cs"/>
            </a:endParaRPr>
          </a:p>
          <a:p>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3</a:t>
            </a:fld>
            <a:endParaRPr lang="ja-JP" altLang="en-US"/>
          </a:p>
        </p:txBody>
      </p:sp>
    </p:spTree>
    <p:extLst>
      <p:ext uri="{BB962C8B-B14F-4D97-AF65-F5344CB8AC3E}">
        <p14:creationId xmlns:p14="http://schemas.microsoft.com/office/powerpoint/2010/main" val="2905058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E4D4A-EEC7-1B70-0ADE-4DB1E07AECF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033D5E1-913D-EF42-EB0D-6B5A27D12F37}"/>
              </a:ext>
            </a:extLst>
          </p:cNvPr>
          <p:cNvSpPr>
            <a:spLocks noGrp="1" noRot="1" noChangeAspect="1"/>
          </p:cNvSpPr>
          <p:nvPr>
            <p:ph type="sldImg"/>
          </p:nvPr>
        </p:nvSpPr>
        <p:spPr>
          <a:xfrm>
            <a:off x="920750" y="746125"/>
            <a:ext cx="4967288" cy="3725863"/>
          </a:xfrm>
        </p:spPr>
      </p:sp>
      <p:sp>
        <p:nvSpPr>
          <p:cNvPr id="3" name="ノート プレースホルダー 2">
            <a:extLst>
              <a:ext uri="{FF2B5EF4-FFF2-40B4-BE49-F238E27FC236}">
                <a16:creationId xmlns:a16="http://schemas.microsoft.com/office/drawing/2014/main" id="{8BE88A46-7863-810E-44CA-BE2F93F4DE9F}"/>
              </a:ext>
            </a:extLst>
          </p:cNvPr>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And then, I will talk about the methodology.</a:t>
            </a:r>
            <a:r>
              <a:rPr lang="ja-JP" altLang="ja-JP">
                <a:effectLst/>
              </a:rPr>
              <a:t> </a:t>
            </a:r>
            <a:endParaRPr kumimoji="1" lang="en-US" altLang="ja-JP" dirty="0"/>
          </a:p>
        </p:txBody>
      </p:sp>
      <p:sp>
        <p:nvSpPr>
          <p:cNvPr id="4" name="スライド番号プレースホルダー 3">
            <a:extLst>
              <a:ext uri="{FF2B5EF4-FFF2-40B4-BE49-F238E27FC236}">
                <a16:creationId xmlns:a16="http://schemas.microsoft.com/office/drawing/2014/main" id="{73136ECE-6F30-DC20-7458-05CEB0E59D24}"/>
              </a:ext>
            </a:extLst>
          </p:cNvPr>
          <p:cNvSpPr>
            <a:spLocks noGrp="1"/>
          </p:cNvSpPr>
          <p:nvPr>
            <p:ph type="sldNum" sz="quarter" idx="5"/>
          </p:nvPr>
        </p:nvSpPr>
        <p:spPr/>
        <p:txBody>
          <a:bodyPr/>
          <a:lstStyle/>
          <a:p>
            <a:pPr>
              <a:defRPr/>
            </a:pPr>
            <a:fld id="{C87DC591-074C-429E-ABE0-75906D5B43AF}" type="slidenum">
              <a:rPr lang="ja-JP" altLang="en-US" smtClean="0"/>
              <a:pPr>
                <a:defRPr/>
              </a:pPr>
              <a:t>4</a:t>
            </a:fld>
            <a:endParaRPr lang="ja-JP" altLang="en-US"/>
          </a:p>
        </p:txBody>
      </p:sp>
    </p:spTree>
    <p:extLst>
      <p:ext uri="{BB962C8B-B14F-4D97-AF65-F5344CB8AC3E}">
        <p14:creationId xmlns:p14="http://schemas.microsoft.com/office/powerpoint/2010/main" val="1424417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So, the first idea about the previous question is the dynamic event sampling.</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One of option is using the Monte Carlo sampling.</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In traditional Monte Carlo sampling, the event’s ending time is sampled directly by using the information available at the time 0, which also means that, the influence of environmental changes just happening later the time 0 would be ignored and cannot be captured.</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However, there is another possible option, called the continuous Markov chain Monte Carlo (CMMC) method. It checks if the event is ending or not at every small time-step.</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To be more specific, at each time-step, the model will update the state transition probability using the current environmental conditions. And Monte Carlo sampling will use this updated state transition probability to decide whether the event continues or ends.</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Although this method is cost than the traditional Monte Carlo sampling, but it would be more suitable for the condition of continuous environment change.</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However, if we want to use this CMMC method to simulate the human behavior, such as the repair task, there is still an issue needed to be solved,</a:t>
            </a:r>
            <a:r>
              <a:rPr lang="ja-JP" altLang="ja-JP">
                <a:effectLst/>
              </a:rPr>
              <a:t> </a:t>
            </a:r>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5</a:t>
            </a:fld>
            <a:endParaRPr lang="ja-JP" altLang="en-US"/>
          </a:p>
        </p:txBody>
      </p:sp>
    </p:spTree>
    <p:extLst>
      <p:ext uri="{BB962C8B-B14F-4D97-AF65-F5344CB8AC3E}">
        <p14:creationId xmlns:p14="http://schemas.microsoft.com/office/powerpoint/2010/main" val="11361720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In CMMC method, the conventional Markov state generally only can track the machine status, which may be working or stopped. </a:t>
            </a:r>
            <a:br>
              <a:rPr kumimoji="1" lang="en-US" altLang="ja-JP" sz="975" kern="1200" dirty="0">
                <a:solidFill>
                  <a:schemeClr val="tx1"/>
                </a:solidFill>
                <a:effectLst/>
                <a:latin typeface="+mn-lt"/>
                <a:ea typeface="+mn-ea"/>
                <a:cs typeface="+mn-cs"/>
              </a:rPr>
            </a:br>
            <a:r>
              <a:rPr kumimoji="1" lang="en-US" altLang="ja-JP" sz="975" kern="1200" dirty="0">
                <a:solidFill>
                  <a:schemeClr val="tx1"/>
                </a:solidFill>
                <a:effectLst/>
                <a:latin typeface="+mn-lt"/>
                <a:ea typeface="+mn-ea"/>
                <a:cs typeface="+mn-cs"/>
              </a:rPr>
              <a:t>But for the stopped machine, it cannot tell us the exact repair-task status.</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or example, the repair-task may still be ongoing, or it may be completed but failed. However, they cannot be separated.</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Therefore, here, we introduce the concept of the </a:t>
            </a:r>
            <a:r>
              <a:rPr kumimoji="1" lang="en-US" altLang="ja-JP" sz="975" u="sng" kern="1200" dirty="0">
                <a:solidFill>
                  <a:schemeClr val="tx1"/>
                </a:solidFill>
                <a:effectLst/>
                <a:latin typeface="+mn-lt"/>
                <a:ea typeface="+mn-ea"/>
                <a:cs typeface="+mn-cs"/>
              </a:rPr>
              <a:t>Joint Markov State.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or each Joint Markov state, it can describe both the machine state and the repair-task state. </a:t>
            </a:r>
            <a:br>
              <a:rPr kumimoji="1" lang="en-US" altLang="ja-JP" sz="975" kern="1200" dirty="0">
                <a:solidFill>
                  <a:schemeClr val="tx1"/>
                </a:solidFill>
                <a:effectLst/>
                <a:latin typeface="+mn-lt"/>
                <a:ea typeface="+mn-ea"/>
                <a:cs typeface="+mn-cs"/>
              </a:rPr>
            </a:br>
            <a:r>
              <a:rPr kumimoji="1" lang="en-US" altLang="ja-JP" sz="975" kern="1200" dirty="0">
                <a:solidFill>
                  <a:schemeClr val="tx1"/>
                </a:solidFill>
                <a:effectLst/>
                <a:latin typeface="+mn-lt"/>
                <a:ea typeface="+mn-ea"/>
                <a:cs typeface="+mn-cs"/>
              </a:rPr>
              <a:t>Therefore, this can allow the model to distinguish three different competing possibilities: repair ongoing, repair completed successfully, and repair completed with failure.</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Here, we name this method as Concurrent CMMC method (Co-CMMC method), means that both the machine and the repair task can be explicitly tracked at the same time.</a:t>
            </a:r>
            <a:r>
              <a:rPr lang="ja-JP" altLang="ja-JP">
                <a:effectLst/>
              </a:rPr>
              <a:t> </a:t>
            </a:r>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6</a:t>
            </a:fld>
            <a:endParaRPr lang="ja-JP" altLang="en-US"/>
          </a:p>
        </p:txBody>
      </p:sp>
    </p:spTree>
    <p:extLst>
      <p:ext uri="{BB962C8B-B14F-4D97-AF65-F5344CB8AC3E}">
        <p14:creationId xmlns:p14="http://schemas.microsoft.com/office/powerpoint/2010/main" val="3401434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And then, we applied this Co-CMMC method, as mentioned in the previous slide, to propose this computational framework, which has the 4 modules and 1 data-exchange center.</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or the data-exchange center, it passes the information among these modules. And, the same process of these 4 modules will be repeated at each time step.</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As for the details of these 4 modules, in the next slide, I’ll use a timeline diagram to explain how these 4 modules are operated in sequence.</a:t>
            </a:r>
            <a:r>
              <a:rPr lang="ja-JP" altLang="ja-JP">
                <a:effectLst/>
              </a:rPr>
              <a:t> </a:t>
            </a:r>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7</a:t>
            </a:fld>
            <a:endParaRPr lang="ja-JP" altLang="en-US"/>
          </a:p>
        </p:txBody>
      </p:sp>
    </p:spTree>
    <p:extLst>
      <p:ext uri="{BB962C8B-B14F-4D97-AF65-F5344CB8AC3E}">
        <p14:creationId xmlns:p14="http://schemas.microsoft.com/office/powerpoint/2010/main" val="1656495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As for the Module 1, it read the current environment status to update required parameters for Co-CMMC method, such as the Human Error Probability, and the repair completion rate, mu.</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And then, Module 2 will read the information from the Module1 to update the state transition probabilities, in order to sample the newest joint Markov state at the next timestep</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ollowing which, Module 3 will breakdown the updated Joint Markov state into the machine and repair-task status.</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Finally, the Module 4 will use the deterministic model to update the working environment status.</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So, in this way, the framework not only can connect human and machine status with environmental dynamics, but also enabling higher temporal resolution by operating these 4 modules sequentially within each time step.</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 </a:t>
            </a:r>
            <a:endParaRPr kumimoji="1" lang="ja-JP" altLang="ja-JP" sz="975" kern="1200">
              <a:solidFill>
                <a:schemeClr val="tx1"/>
              </a:solidFill>
              <a:effectLst/>
              <a:latin typeface="+mn-lt"/>
              <a:ea typeface="+mn-ea"/>
              <a:cs typeface="+mn-cs"/>
            </a:endParaRPr>
          </a:p>
          <a:p>
            <a:r>
              <a:rPr kumimoji="1" lang="en-US" altLang="ja-JP" sz="975" kern="1200" dirty="0">
                <a:solidFill>
                  <a:schemeClr val="tx1"/>
                </a:solidFill>
                <a:effectLst/>
                <a:latin typeface="+mn-lt"/>
                <a:ea typeface="+mn-ea"/>
                <a:cs typeface="+mn-cs"/>
              </a:rPr>
              <a:t>On the other hand, although most of modeling elements in this framework are general, but some modeling elements must be adapted to the target scenario, such as the Markov chain structure, the dynamic model of the target environment, and the relationships between environmental variables and Human error probability. The example of these Scenario-Specific Adaptation will be discussed in the following presentation.</a:t>
            </a:r>
            <a:r>
              <a:rPr lang="ja-JP" altLang="ja-JP">
                <a:effectLst/>
              </a:rPr>
              <a:t> </a:t>
            </a:r>
            <a:endParaRPr kumimoji="1" lang="ja-JP" altLang="en-US"/>
          </a:p>
        </p:txBody>
      </p:sp>
      <p:sp>
        <p:nvSpPr>
          <p:cNvPr id="4" name="スライド番号プレースホルダー 3"/>
          <p:cNvSpPr>
            <a:spLocks noGrp="1"/>
          </p:cNvSpPr>
          <p:nvPr>
            <p:ph type="sldNum" sz="quarter" idx="5"/>
          </p:nvPr>
        </p:nvSpPr>
        <p:spPr/>
        <p:txBody>
          <a:bodyPr/>
          <a:lstStyle/>
          <a:p>
            <a:pPr>
              <a:defRPr/>
            </a:pPr>
            <a:fld id="{C87DC591-074C-429E-ABE0-75906D5B43AF}" type="slidenum">
              <a:rPr lang="ja-JP" altLang="en-US" smtClean="0"/>
              <a:pPr>
                <a:defRPr/>
              </a:pPr>
              <a:t>8</a:t>
            </a:fld>
            <a:endParaRPr lang="ja-JP" altLang="en-US"/>
          </a:p>
        </p:txBody>
      </p:sp>
    </p:spTree>
    <p:extLst>
      <p:ext uri="{BB962C8B-B14F-4D97-AF65-F5344CB8AC3E}">
        <p14:creationId xmlns:p14="http://schemas.microsoft.com/office/powerpoint/2010/main" val="2454393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9A4B8-0474-28D7-4EEE-2170E052F91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B313214-71B8-9ED7-7FE4-BCA45C04C811}"/>
              </a:ext>
            </a:extLst>
          </p:cNvPr>
          <p:cNvSpPr>
            <a:spLocks noGrp="1" noRot="1" noChangeAspect="1"/>
          </p:cNvSpPr>
          <p:nvPr>
            <p:ph type="sldImg"/>
          </p:nvPr>
        </p:nvSpPr>
        <p:spPr>
          <a:xfrm>
            <a:off x="920750" y="746125"/>
            <a:ext cx="4967288" cy="3725863"/>
          </a:xfrm>
        </p:spPr>
      </p:sp>
      <p:sp>
        <p:nvSpPr>
          <p:cNvPr id="3" name="ノート プレースホルダー 2">
            <a:extLst>
              <a:ext uri="{FF2B5EF4-FFF2-40B4-BE49-F238E27FC236}">
                <a16:creationId xmlns:a16="http://schemas.microsoft.com/office/drawing/2014/main" id="{44CF5FA3-68E6-5B2C-FF6E-BB7F6A0B1375}"/>
              </a:ext>
            </a:extLst>
          </p:cNvPr>
          <p:cNvSpPr>
            <a:spLocks noGrp="1"/>
          </p:cNvSpPr>
          <p:nvPr>
            <p:ph type="body" idx="1"/>
          </p:nvPr>
        </p:nvSpPr>
        <p:spPr/>
        <p:txBody>
          <a:bodyPr/>
          <a:lstStyle/>
          <a:p>
            <a:r>
              <a:rPr kumimoji="1" lang="en-US" altLang="ja-JP" sz="975" kern="1200" dirty="0">
                <a:solidFill>
                  <a:schemeClr val="tx1"/>
                </a:solidFill>
                <a:effectLst/>
                <a:latin typeface="+mn-lt"/>
                <a:ea typeface="+mn-ea"/>
                <a:cs typeface="+mn-cs"/>
              </a:rPr>
              <a:t>And then, I will talk about the test scenario . </a:t>
            </a:r>
            <a:endParaRPr kumimoji="1" lang="en-US" altLang="ja-JP" dirty="0"/>
          </a:p>
        </p:txBody>
      </p:sp>
      <p:sp>
        <p:nvSpPr>
          <p:cNvPr id="4" name="スライド番号プレースホルダー 3">
            <a:extLst>
              <a:ext uri="{FF2B5EF4-FFF2-40B4-BE49-F238E27FC236}">
                <a16:creationId xmlns:a16="http://schemas.microsoft.com/office/drawing/2014/main" id="{E63B50B1-45DC-14A9-E1B8-1C0A588B6FA6}"/>
              </a:ext>
            </a:extLst>
          </p:cNvPr>
          <p:cNvSpPr>
            <a:spLocks noGrp="1"/>
          </p:cNvSpPr>
          <p:nvPr>
            <p:ph type="sldNum" sz="quarter" idx="5"/>
          </p:nvPr>
        </p:nvSpPr>
        <p:spPr/>
        <p:txBody>
          <a:bodyPr/>
          <a:lstStyle/>
          <a:p>
            <a:pPr>
              <a:defRPr/>
            </a:pPr>
            <a:fld id="{C87DC591-074C-429E-ABE0-75906D5B43AF}" type="slidenum">
              <a:rPr lang="ja-JP" altLang="en-US" smtClean="0"/>
              <a:pPr>
                <a:defRPr/>
              </a:pPr>
              <a:t>9</a:t>
            </a:fld>
            <a:endParaRPr lang="ja-JP" altLang="en-US"/>
          </a:p>
        </p:txBody>
      </p:sp>
    </p:spTree>
    <p:extLst>
      <p:ext uri="{BB962C8B-B14F-4D97-AF65-F5344CB8AC3E}">
        <p14:creationId xmlns:p14="http://schemas.microsoft.com/office/powerpoint/2010/main" val="22956278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9.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slideMaster" Target="../slideMasters/slideMaster3.xml"/><Relationship Id="rId7" Type="http://schemas.openxmlformats.org/officeDocument/2006/relationships/image" Target="../media/image13.gi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5.gi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3.gif"/><Relationship Id="rId3" Type="http://schemas.openxmlformats.org/officeDocument/2006/relationships/slideMaster" Target="../slideMasters/slideMaster4.xml"/><Relationship Id="rId7" Type="http://schemas.openxmlformats.org/officeDocument/2006/relationships/image" Target="../media/image11.tif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7.gi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1.tiff"/><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9.gi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graphicFrame>
        <p:nvGraphicFramePr>
          <p:cNvPr id="14" name="オブジェクト 13" hidden="1">
            <a:extLst>
              <a:ext uri="{FF2B5EF4-FFF2-40B4-BE49-F238E27FC236}">
                <a16:creationId xmlns:a16="http://schemas.microsoft.com/office/drawing/2014/main" id="{584B176C-B399-4BC2-B29E-9BF35B0B4847}"/>
              </a:ext>
            </a:extLst>
          </p:cNvPr>
          <p:cNvGraphicFramePr>
            <a:graphicFrameLocks noChangeAspect="1"/>
          </p:cNvGraphicFramePr>
          <p:nvPr userDrawn="1">
            <p:custDataLst>
              <p:tags r:id="rId1"/>
            </p:custDataLst>
            <p:extLst>
              <p:ext uri="{D42A27DB-BD31-4B8C-83A1-F6EECF244321}">
                <p14:modId xmlns:p14="http://schemas.microsoft.com/office/powerpoint/2010/main" val="702722300"/>
              </p:ext>
            </p:extLst>
          </p:nvPr>
        </p:nvGraphicFramePr>
        <p:xfrm>
          <a:off x="1590" y="2125"/>
          <a:ext cx="1588" cy="2117"/>
        </p:xfrm>
        <a:graphic>
          <a:graphicData uri="http://schemas.openxmlformats.org/presentationml/2006/ole">
            <mc:AlternateContent xmlns:mc="http://schemas.openxmlformats.org/markup-compatibility/2006">
              <mc:Choice xmlns:v="urn:schemas-microsoft-com:vml" Requires="v">
                <p:oleObj name="think-cell スライド" r:id="rId4" imgW="262" imgH="262" progId="TCLayout.ActiveDocument.1">
                  <p:embed/>
                </p:oleObj>
              </mc:Choice>
              <mc:Fallback>
                <p:oleObj name="think-cell スライド" r:id="rId4" imgW="262" imgH="262" progId="TCLayout.ActiveDocument.1">
                  <p:embed/>
                  <p:pic>
                    <p:nvPicPr>
                      <p:cNvPr id="14" name="オブジェクト 13" hidden="1">
                        <a:extLst>
                          <a:ext uri="{FF2B5EF4-FFF2-40B4-BE49-F238E27FC236}">
                            <a16:creationId xmlns:a16="http://schemas.microsoft.com/office/drawing/2014/main" id="{584B176C-B399-4BC2-B29E-9BF35B0B4847}"/>
                          </a:ext>
                        </a:extLst>
                      </p:cNvPr>
                      <p:cNvPicPr/>
                      <p:nvPr/>
                    </p:nvPicPr>
                    <p:blipFill>
                      <a:blip r:embed="rId5"/>
                      <a:stretch>
                        <a:fillRect/>
                      </a:stretch>
                    </p:blipFill>
                    <p:spPr>
                      <a:xfrm>
                        <a:off x="1590" y="2125"/>
                        <a:ext cx="1588" cy="2117"/>
                      </a:xfrm>
                      <a:prstGeom prst="rect">
                        <a:avLst/>
                      </a:prstGeom>
                    </p:spPr>
                  </p:pic>
                </p:oleObj>
              </mc:Fallback>
            </mc:AlternateContent>
          </a:graphicData>
        </a:graphic>
      </p:graphicFrame>
      <p:sp>
        <p:nvSpPr>
          <p:cNvPr id="13" name="正方形/長方形 12" hidden="1">
            <a:extLst>
              <a:ext uri="{FF2B5EF4-FFF2-40B4-BE49-F238E27FC236}">
                <a16:creationId xmlns:a16="http://schemas.microsoft.com/office/drawing/2014/main" id="{262E39A6-0BAE-4A8C-8E05-F891CBDB8160}"/>
              </a:ext>
            </a:extLst>
          </p:cNvPr>
          <p:cNvSpPr/>
          <p:nvPr userDrawn="1">
            <p:custDataLst>
              <p:tags r:id="rId2"/>
            </p:custDataLst>
          </p:nvPr>
        </p:nvSpPr>
        <p:spPr>
          <a:xfrm>
            <a:off x="1" y="1"/>
            <a:ext cx="158750" cy="211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955"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ctrTitle" hasCustomPrompt="1"/>
          </p:nvPr>
        </p:nvSpPr>
        <p:spPr>
          <a:xfrm>
            <a:off x="685800" y="1484784"/>
            <a:ext cx="7772400" cy="1470026"/>
          </a:xfrm>
          <a:noFill/>
        </p:spPr>
        <p:txBody>
          <a:bodyPr anchor="b"/>
          <a:lstStyle>
            <a:lvl1pPr>
              <a:defRPr sz="3600" b="1">
                <a:solidFill>
                  <a:schemeClr val="tx1"/>
                </a:solidFill>
              </a:defRPr>
            </a:lvl1pPr>
          </a:lstStyle>
          <a:p>
            <a:r>
              <a:rPr lang="ja-JP" altLang="en-US" dirty="0"/>
              <a:t>資料タイトル</a:t>
            </a:r>
          </a:p>
        </p:txBody>
      </p:sp>
      <p:sp>
        <p:nvSpPr>
          <p:cNvPr id="5" name="フッター プレースホルダ 4"/>
          <p:cNvSpPr>
            <a:spLocks noGrp="1"/>
          </p:cNvSpPr>
          <p:nvPr>
            <p:ph type="ftr" sz="quarter" idx="11"/>
          </p:nvPr>
        </p:nvSpPr>
        <p:spPr>
          <a:xfrm>
            <a:off x="1028329" y="6543432"/>
            <a:ext cx="591344" cy="274324"/>
          </a:xfrm>
          <a:prstGeom prst="rect">
            <a:avLst/>
          </a:prstGeom>
        </p:spPr>
        <p:txBody>
          <a:bodyPr vert="horz" lIns="91440" tIns="45720" rIns="91440" bIns="45720" rtlCol="0" anchor="ctr"/>
          <a:lstStyle>
            <a:defPPr>
              <a:defRPr lang="ja-JP"/>
            </a:defPPr>
            <a:lvl1pPr algn="l" rtl="0" fontAlgn="auto">
              <a:spcBef>
                <a:spcPts val="0"/>
              </a:spcBef>
              <a:spcAft>
                <a:spcPts val="0"/>
              </a:spcAft>
              <a:defRPr kumimoji="1" sz="1200" b="1" kern="1200">
                <a:solidFill>
                  <a:schemeClr val="bg1">
                    <a:lumMod val="50000"/>
                  </a:schemeClr>
                </a:solidFill>
                <a:latin typeface="Century Gothic" pitchFamily="34" charset="0"/>
                <a:ea typeface="+mn-ea"/>
                <a:cs typeface="Arial" pitchFamily="34" charset="0"/>
              </a:defRPr>
            </a:lvl1pPr>
            <a:lvl2pPr marL="562705" algn="l" rtl="0" fontAlgn="base">
              <a:spcBef>
                <a:spcPct val="0"/>
              </a:spcBef>
              <a:spcAft>
                <a:spcPct val="0"/>
              </a:spcAft>
              <a:defRPr kumimoji="1" kern="1200">
                <a:solidFill>
                  <a:schemeClr val="tx1"/>
                </a:solidFill>
                <a:latin typeface="Arial" charset="0"/>
                <a:ea typeface="ＭＳ Ｐゴシック" charset="-128"/>
                <a:cs typeface="+mn-cs"/>
              </a:defRPr>
            </a:lvl2pPr>
            <a:lvl3pPr marL="1125411" algn="l" rtl="0" fontAlgn="base">
              <a:spcBef>
                <a:spcPct val="0"/>
              </a:spcBef>
              <a:spcAft>
                <a:spcPct val="0"/>
              </a:spcAft>
              <a:defRPr kumimoji="1" kern="1200">
                <a:solidFill>
                  <a:schemeClr val="tx1"/>
                </a:solidFill>
                <a:latin typeface="Arial" charset="0"/>
                <a:ea typeface="ＭＳ Ｐゴシック" charset="-128"/>
                <a:cs typeface="+mn-cs"/>
              </a:defRPr>
            </a:lvl3pPr>
            <a:lvl4pPr marL="1688112" algn="l" rtl="0" fontAlgn="base">
              <a:spcBef>
                <a:spcPct val="0"/>
              </a:spcBef>
              <a:spcAft>
                <a:spcPct val="0"/>
              </a:spcAft>
              <a:defRPr kumimoji="1" kern="1200">
                <a:solidFill>
                  <a:schemeClr val="tx1"/>
                </a:solidFill>
                <a:latin typeface="Arial" charset="0"/>
                <a:ea typeface="ＭＳ Ｐゴシック" charset="-128"/>
                <a:cs typeface="+mn-cs"/>
              </a:defRPr>
            </a:lvl4pPr>
            <a:lvl5pPr marL="2250818" algn="l" rtl="0" fontAlgn="base">
              <a:spcBef>
                <a:spcPct val="0"/>
              </a:spcBef>
              <a:spcAft>
                <a:spcPct val="0"/>
              </a:spcAft>
              <a:defRPr kumimoji="1" kern="1200">
                <a:solidFill>
                  <a:schemeClr val="tx1"/>
                </a:solidFill>
                <a:latin typeface="Arial" charset="0"/>
                <a:ea typeface="ＭＳ Ｐゴシック" charset="-128"/>
                <a:cs typeface="+mn-cs"/>
              </a:defRPr>
            </a:lvl5pPr>
            <a:lvl6pPr marL="2813523" algn="l" defTabSz="1125411" rtl="0" eaLnBrk="1" latinLnBrk="0" hangingPunct="1">
              <a:defRPr kumimoji="1" kern="1200">
                <a:solidFill>
                  <a:schemeClr val="tx1"/>
                </a:solidFill>
                <a:latin typeface="Arial" charset="0"/>
                <a:ea typeface="ＭＳ Ｐゴシック" charset="-128"/>
                <a:cs typeface="+mn-cs"/>
              </a:defRPr>
            </a:lvl6pPr>
            <a:lvl7pPr marL="3376226" algn="l" defTabSz="1125411" rtl="0" eaLnBrk="1" latinLnBrk="0" hangingPunct="1">
              <a:defRPr kumimoji="1" kern="1200">
                <a:solidFill>
                  <a:schemeClr val="tx1"/>
                </a:solidFill>
                <a:latin typeface="Arial" charset="0"/>
                <a:ea typeface="ＭＳ Ｐゴシック" charset="-128"/>
                <a:cs typeface="+mn-cs"/>
              </a:defRPr>
            </a:lvl7pPr>
            <a:lvl8pPr marL="3938931" algn="l" defTabSz="1125411" rtl="0" eaLnBrk="1" latinLnBrk="0" hangingPunct="1">
              <a:defRPr kumimoji="1" kern="1200">
                <a:solidFill>
                  <a:schemeClr val="tx1"/>
                </a:solidFill>
                <a:latin typeface="Arial" charset="0"/>
                <a:ea typeface="ＭＳ Ｐゴシック" charset="-128"/>
                <a:cs typeface="+mn-cs"/>
              </a:defRPr>
            </a:lvl8pPr>
            <a:lvl9pPr marL="4501635" algn="l" defTabSz="1125411" rtl="0" eaLnBrk="1" latinLnBrk="0" hangingPunct="1">
              <a:defRPr kumimoji="1" kern="1200">
                <a:solidFill>
                  <a:schemeClr val="tx1"/>
                </a:solidFill>
                <a:latin typeface="Arial" charset="0"/>
                <a:ea typeface="ＭＳ Ｐゴシック" charset="-128"/>
                <a:cs typeface="+mn-cs"/>
              </a:defRPr>
            </a:lvl9pPr>
          </a:lstStyle>
          <a:p>
            <a:pPr>
              <a:defRPr/>
            </a:pPr>
            <a:r>
              <a:rPr lang="en-US" altLang="ja-JP" dirty="0"/>
              <a:t>2021</a:t>
            </a:r>
            <a:endParaRPr lang="ja-JP" altLang="en-US" dirty="0"/>
          </a:p>
        </p:txBody>
      </p:sp>
      <p:pic>
        <p:nvPicPr>
          <p:cNvPr id="24" name="図 25" descr="電中研ロゴ色補正.png">
            <a:extLst>
              <a:ext uri="{FF2B5EF4-FFF2-40B4-BE49-F238E27FC236}">
                <a16:creationId xmlns:a16="http://schemas.microsoft.com/office/drawing/2014/main" id="{1D6FAEFD-575D-4781-8842-834FF8C2BA69}"/>
              </a:ext>
            </a:extLst>
          </p:cNvPr>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3708490" y="6238045"/>
            <a:ext cx="1686673" cy="216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図 28" descr="コピーライトグレー.png">
            <a:extLst>
              <a:ext uri="{FF2B5EF4-FFF2-40B4-BE49-F238E27FC236}">
                <a16:creationId xmlns:a16="http://schemas.microsoft.com/office/drawing/2014/main" id="{39D444FC-CC1F-4622-B8C9-BC2D4DEB79EB}"/>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250825" y="6597916"/>
            <a:ext cx="762060" cy="158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図 20" descr="タイプB表紙ライン.png">
            <a:extLst>
              <a:ext uri="{FF2B5EF4-FFF2-40B4-BE49-F238E27FC236}">
                <a16:creationId xmlns:a16="http://schemas.microsoft.com/office/drawing/2014/main" id="{1E030A33-A20E-43CE-9893-B1E96D7B9278}"/>
              </a:ext>
            </a:extLst>
          </p:cNvPr>
          <p:cNvPicPr>
            <a:picLocks noChangeAspect="1"/>
          </p:cNvPicPr>
          <p:nvPr userDrawn="1"/>
        </p:nvPicPr>
        <p:blipFill>
          <a:blip r:embed="rId8"/>
          <a:stretch>
            <a:fillRect/>
          </a:stretch>
        </p:blipFill>
        <p:spPr>
          <a:xfrm>
            <a:off x="603834" y="2990862"/>
            <a:ext cx="7936336" cy="12191"/>
          </a:xfrm>
          <a:prstGeom prst="rect">
            <a:avLst/>
          </a:prstGeom>
        </p:spPr>
      </p:pic>
      <p:sp>
        <p:nvSpPr>
          <p:cNvPr id="38" name="サブタイトル 2">
            <a:extLst>
              <a:ext uri="{FF2B5EF4-FFF2-40B4-BE49-F238E27FC236}">
                <a16:creationId xmlns:a16="http://schemas.microsoft.com/office/drawing/2014/main" id="{1B4AA2B2-6FB2-4661-8914-57707171B418}"/>
              </a:ext>
            </a:extLst>
          </p:cNvPr>
          <p:cNvSpPr>
            <a:spLocks noGrp="1"/>
          </p:cNvSpPr>
          <p:nvPr>
            <p:ph type="subTitle" idx="1" hasCustomPrompt="1"/>
          </p:nvPr>
        </p:nvSpPr>
        <p:spPr>
          <a:xfrm>
            <a:off x="3995936" y="3372265"/>
            <a:ext cx="3960440" cy="719616"/>
          </a:xfrm>
          <a:noFill/>
        </p:spPr>
        <p:txBody>
          <a:bodyPr anchor="ctr"/>
          <a:lstStyle>
            <a:lvl1pPr marL="0" indent="0" algn="l">
              <a:buNone/>
              <a:defRPr sz="2400">
                <a:solidFill>
                  <a:schemeClr val="tx1"/>
                </a:solidFill>
              </a:defRPr>
            </a:lvl1pPr>
            <a:lvl2pPr marL="422028" indent="0" algn="ctr">
              <a:buNone/>
              <a:defRPr>
                <a:solidFill>
                  <a:schemeClr val="tx1">
                    <a:tint val="75000"/>
                  </a:schemeClr>
                </a:solidFill>
              </a:defRPr>
            </a:lvl2pPr>
            <a:lvl3pPr marL="844058" indent="0" algn="ctr">
              <a:buNone/>
              <a:defRPr>
                <a:solidFill>
                  <a:schemeClr val="tx1">
                    <a:tint val="75000"/>
                  </a:schemeClr>
                </a:solidFill>
              </a:defRPr>
            </a:lvl3pPr>
            <a:lvl4pPr marL="1266086" indent="0" algn="ctr">
              <a:buNone/>
              <a:defRPr>
                <a:solidFill>
                  <a:schemeClr val="tx1">
                    <a:tint val="75000"/>
                  </a:schemeClr>
                </a:solidFill>
              </a:defRPr>
            </a:lvl4pPr>
            <a:lvl5pPr marL="1688112" indent="0" algn="ctr">
              <a:buNone/>
              <a:defRPr>
                <a:solidFill>
                  <a:schemeClr val="tx1">
                    <a:tint val="75000"/>
                  </a:schemeClr>
                </a:solidFill>
              </a:defRPr>
            </a:lvl5pPr>
            <a:lvl6pPr marL="2110142" indent="0" algn="ctr">
              <a:buNone/>
              <a:defRPr>
                <a:solidFill>
                  <a:schemeClr val="tx1">
                    <a:tint val="75000"/>
                  </a:schemeClr>
                </a:solidFill>
              </a:defRPr>
            </a:lvl6pPr>
            <a:lvl7pPr marL="2532170" indent="0" algn="ctr">
              <a:buNone/>
              <a:defRPr>
                <a:solidFill>
                  <a:schemeClr val="tx1">
                    <a:tint val="75000"/>
                  </a:schemeClr>
                </a:solidFill>
              </a:defRPr>
            </a:lvl7pPr>
            <a:lvl8pPr marL="2954199" indent="0" algn="ctr">
              <a:buNone/>
              <a:defRPr>
                <a:solidFill>
                  <a:schemeClr val="tx1">
                    <a:tint val="75000"/>
                  </a:schemeClr>
                </a:solidFill>
              </a:defRPr>
            </a:lvl8pPr>
            <a:lvl9pPr marL="3376226" indent="0" algn="ctr">
              <a:buNone/>
              <a:defRPr>
                <a:solidFill>
                  <a:schemeClr val="tx1">
                    <a:tint val="75000"/>
                  </a:schemeClr>
                </a:solidFill>
              </a:defRPr>
            </a:lvl9pPr>
          </a:lstStyle>
          <a:p>
            <a:r>
              <a:rPr lang="en-US" altLang="ja-JP" dirty="0"/>
              <a:t>××××</a:t>
            </a:r>
            <a:r>
              <a:rPr lang="ja-JP" altLang="en-US" dirty="0"/>
              <a:t>研究所</a:t>
            </a:r>
          </a:p>
        </p:txBody>
      </p:sp>
      <p:sp>
        <p:nvSpPr>
          <p:cNvPr id="39" name="テキスト プレースホルダ 2">
            <a:extLst>
              <a:ext uri="{FF2B5EF4-FFF2-40B4-BE49-F238E27FC236}">
                <a16:creationId xmlns:a16="http://schemas.microsoft.com/office/drawing/2014/main" id="{FC750DF4-33B9-4CB0-B5AF-AF3E25160F59}"/>
              </a:ext>
            </a:extLst>
          </p:cNvPr>
          <p:cNvSpPr>
            <a:spLocks noGrp="1"/>
          </p:cNvSpPr>
          <p:nvPr>
            <p:ph type="body" idx="15" hasCustomPrompt="1"/>
          </p:nvPr>
        </p:nvSpPr>
        <p:spPr>
          <a:xfrm>
            <a:off x="1403653" y="5229201"/>
            <a:ext cx="6336704" cy="432048"/>
          </a:xfrm>
        </p:spPr>
        <p:txBody>
          <a:bodyPr anchor="ctr" anchorCtr="1"/>
          <a:lstStyle>
            <a:lvl1pPr marL="0" indent="0">
              <a:buNone/>
              <a:defRPr sz="1800" b="0">
                <a:solidFill>
                  <a:schemeClr val="tx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lvl="0"/>
            <a:r>
              <a:rPr lang="ja-JP" altLang="en-US" dirty="0"/>
              <a:t>講演会・発表会名</a:t>
            </a:r>
          </a:p>
        </p:txBody>
      </p:sp>
      <p:sp>
        <p:nvSpPr>
          <p:cNvPr id="40" name="テキスト プレースホルダ 2">
            <a:extLst>
              <a:ext uri="{FF2B5EF4-FFF2-40B4-BE49-F238E27FC236}">
                <a16:creationId xmlns:a16="http://schemas.microsoft.com/office/drawing/2014/main" id="{B7E8B79A-AF9C-4E46-A641-F6F7DEF2D25A}"/>
              </a:ext>
            </a:extLst>
          </p:cNvPr>
          <p:cNvSpPr>
            <a:spLocks noGrp="1"/>
          </p:cNvSpPr>
          <p:nvPr>
            <p:ph type="body" idx="16" hasCustomPrompt="1"/>
          </p:nvPr>
        </p:nvSpPr>
        <p:spPr>
          <a:xfrm>
            <a:off x="1403653" y="5661249"/>
            <a:ext cx="6336704" cy="432048"/>
          </a:xfrm>
        </p:spPr>
        <p:txBody>
          <a:bodyPr anchor="ctr" anchorCtr="1"/>
          <a:lstStyle>
            <a:lvl1pPr marL="0" indent="0">
              <a:buNone/>
              <a:defRPr sz="1800" b="0">
                <a:solidFill>
                  <a:schemeClr val="tx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lvl="0"/>
            <a:r>
              <a:rPr lang="en-US" altLang="ja-JP" dirty="0"/>
              <a:t>YYYY</a:t>
            </a:r>
            <a:r>
              <a:rPr lang="ja-JP" altLang="en-US" dirty="0"/>
              <a:t>年</a:t>
            </a:r>
            <a:r>
              <a:rPr lang="en-US" altLang="ja-JP" dirty="0"/>
              <a:t>MM</a:t>
            </a:r>
            <a:r>
              <a:rPr lang="ja-JP" altLang="en-US" dirty="0"/>
              <a:t>月</a:t>
            </a:r>
            <a:r>
              <a:rPr lang="en-US" altLang="ja-JP" dirty="0"/>
              <a:t>DD</a:t>
            </a:r>
            <a:r>
              <a:rPr lang="ja-JP" altLang="en-US" dirty="0"/>
              <a:t>日</a:t>
            </a:r>
          </a:p>
        </p:txBody>
      </p:sp>
      <p:sp>
        <p:nvSpPr>
          <p:cNvPr id="41" name="テキスト プレースホルダ 2">
            <a:extLst>
              <a:ext uri="{FF2B5EF4-FFF2-40B4-BE49-F238E27FC236}">
                <a16:creationId xmlns:a16="http://schemas.microsoft.com/office/drawing/2014/main" id="{A8BC1D1A-878D-440F-B3E2-090D8C9552F1}"/>
              </a:ext>
            </a:extLst>
          </p:cNvPr>
          <p:cNvSpPr>
            <a:spLocks noGrp="1"/>
          </p:cNvSpPr>
          <p:nvPr>
            <p:ph type="body" idx="14" hasCustomPrompt="1"/>
          </p:nvPr>
        </p:nvSpPr>
        <p:spPr>
          <a:xfrm>
            <a:off x="4001706" y="4149081"/>
            <a:ext cx="3954670" cy="639762"/>
          </a:xfrm>
        </p:spPr>
        <p:txBody>
          <a:bodyPr anchor="ctr" anchorCtr="0"/>
          <a:lstStyle>
            <a:lvl1pPr marL="0" marR="0" indent="0" algn="l" defTabSz="914377" rtl="0" eaLnBrk="1" fontAlgn="base" latinLnBrk="0" hangingPunct="1">
              <a:lnSpc>
                <a:spcPct val="100000"/>
              </a:lnSpc>
              <a:spcBef>
                <a:spcPts val="277"/>
              </a:spcBef>
              <a:spcAft>
                <a:spcPct val="0"/>
              </a:spcAft>
              <a:buClr>
                <a:schemeClr val="tx1"/>
              </a:buClr>
              <a:buSzTx/>
              <a:buFont typeface="Wingdings" panose="05000000000000000000" pitchFamily="2" charset="2"/>
              <a:buNone/>
              <a:tabLst/>
              <a:defRPr sz="2400" b="0">
                <a:solidFill>
                  <a:schemeClr val="tx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marL="0" marR="0" lvl="0" indent="0" algn="l" defTabSz="914377" rtl="0" eaLnBrk="1" fontAlgn="base" latinLnBrk="0" hangingPunct="1">
              <a:lnSpc>
                <a:spcPct val="100000"/>
              </a:lnSpc>
              <a:spcBef>
                <a:spcPts val="277"/>
              </a:spcBef>
              <a:spcAft>
                <a:spcPct val="0"/>
              </a:spcAft>
              <a:buClr>
                <a:schemeClr val="tx1"/>
              </a:buClr>
              <a:buSzTx/>
              <a:buFont typeface="Wingdings" panose="05000000000000000000" pitchFamily="2" charset="2"/>
              <a:buNone/>
              <a:tabLst/>
              <a:defRPr/>
            </a:pPr>
            <a:r>
              <a:rPr lang="ja-JP" altLang="en-US" dirty="0"/>
              <a:t>電中研　太郎</a:t>
            </a:r>
          </a:p>
        </p:txBody>
      </p:sp>
      <p:sp>
        <p:nvSpPr>
          <p:cNvPr id="42" name="テキスト プレースホルダー 12">
            <a:extLst>
              <a:ext uri="{FF2B5EF4-FFF2-40B4-BE49-F238E27FC236}">
                <a16:creationId xmlns:a16="http://schemas.microsoft.com/office/drawing/2014/main" id="{41828C59-DD9D-48F5-9DCF-3A819273E9DA}"/>
              </a:ext>
            </a:extLst>
          </p:cNvPr>
          <p:cNvSpPr>
            <a:spLocks noGrp="1"/>
          </p:cNvSpPr>
          <p:nvPr>
            <p:ph type="body" sz="quarter" idx="19" hasCustomPrompt="1"/>
          </p:nvPr>
        </p:nvSpPr>
        <p:spPr>
          <a:xfrm>
            <a:off x="1397383" y="3371620"/>
            <a:ext cx="2598356" cy="719616"/>
          </a:xfrm>
        </p:spPr>
        <p:txBody>
          <a:bodyPr anchor="ctr"/>
          <a:lstStyle>
            <a:lvl1pPr marL="0" marR="0" indent="0" algn="l" defTabSz="914377" rtl="0" eaLnBrk="1" fontAlgn="base" latinLnBrk="0" hangingPunct="1">
              <a:lnSpc>
                <a:spcPct val="100000"/>
              </a:lnSpc>
              <a:spcBef>
                <a:spcPts val="277"/>
              </a:spcBef>
              <a:spcAft>
                <a:spcPct val="0"/>
              </a:spcAft>
              <a:buClr>
                <a:schemeClr val="tx1"/>
              </a:buClr>
              <a:buSzTx/>
              <a:buFont typeface="Wingdings" panose="05000000000000000000" pitchFamily="2" charset="2"/>
              <a:buNone/>
              <a:tabLst/>
              <a:defRPr sz="2400">
                <a:solidFill>
                  <a:schemeClr val="tx1"/>
                </a:solidFill>
              </a:defRPr>
            </a:lvl1pPr>
          </a:lstStyle>
          <a:p>
            <a:pPr marL="0" marR="0" lvl="0" indent="0" algn="l" defTabSz="914377" rtl="0" eaLnBrk="1" fontAlgn="base" latinLnBrk="0" hangingPunct="1">
              <a:lnSpc>
                <a:spcPct val="100000"/>
              </a:lnSpc>
              <a:spcBef>
                <a:spcPts val="277"/>
              </a:spcBef>
              <a:spcAft>
                <a:spcPct val="0"/>
              </a:spcAft>
              <a:buClr>
                <a:schemeClr val="tx1"/>
              </a:buClr>
              <a:buSzTx/>
              <a:buFont typeface="Wingdings" panose="05000000000000000000" pitchFamily="2" charset="2"/>
              <a:buNone/>
              <a:tabLst/>
              <a:defRPr/>
            </a:pPr>
            <a:r>
              <a:rPr kumimoji="1" lang="ja-JP" altLang="en-US" dirty="0"/>
              <a:t>電力中央研究所</a:t>
            </a:r>
          </a:p>
        </p:txBody>
      </p:sp>
      <p:sp>
        <p:nvSpPr>
          <p:cNvPr id="43" name="テキスト プレースホルダー 28">
            <a:extLst>
              <a:ext uri="{FF2B5EF4-FFF2-40B4-BE49-F238E27FC236}">
                <a16:creationId xmlns:a16="http://schemas.microsoft.com/office/drawing/2014/main" id="{893F6064-8D62-437A-9764-0721F3BCAF98}"/>
              </a:ext>
            </a:extLst>
          </p:cNvPr>
          <p:cNvSpPr>
            <a:spLocks noGrp="1"/>
          </p:cNvSpPr>
          <p:nvPr>
            <p:ph type="body" sz="quarter" idx="20" hasCustomPrompt="1"/>
          </p:nvPr>
        </p:nvSpPr>
        <p:spPr>
          <a:xfrm>
            <a:off x="1397000" y="4149087"/>
            <a:ext cx="2598738" cy="640407"/>
          </a:xfrm>
        </p:spPr>
        <p:txBody>
          <a:bodyPr anchor="ctr"/>
          <a:lstStyle>
            <a:lvl1pPr marL="0" marR="0" indent="0" algn="l" defTabSz="914377" rtl="0" eaLnBrk="1" fontAlgn="base" latinLnBrk="0" hangingPunct="1">
              <a:lnSpc>
                <a:spcPct val="100000"/>
              </a:lnSpc>
              <a:spcBef>
                <a:spcPts val="277"/>
              </a:spcBef>
              <a:spcAft>
                <a:spcPct val="0"/>
              </a:spcAft>
              <a:buClr>
                <a:schemeClr val="tx1"/>
              </a:buClr>
              <a:buSzTx/>
              <a:buFont typeface="Wingdings" panose="05000000000000000000" pitchFamily="2" charset="2"/>
              <a:buNone/>
              <a:tabLst/>
              <a:defRPr sz="2400">
                <a:solidFill>
                  <a:schemeClr val="tx1"/>
                </a:solidFill>
              </a:defRPr>
            </a:lvl1pPr>
          </a:lstStyle>
          <a:p>
            <a:pPr marL="0" marR="0" lvl="0" indent="0" algn="l" defTabSz="914377" rtl="0" eaLnBrk="1" fontAlgn="base" latinLnBrk="0" hangingPunct="1">
              <a:lnSpc>
                <a:spcPct val="100000"/>
              </a:lnSpc>
              <a:spcBef>
                <a:spcPts val="277"/>
              </a:spcBef>
              <a:spcAft>
                <a:spcPct val="0"/>
              </a:spcAft>
              <a:buClr>
                <a:schemeClr val="tx1"/>
              </a:buClr>
              <a:buSzTx/>
              <a:buFont typeface="Wingdings" panose="05000000000000000000" pitchFamily="2" charset="2"/>
              <a:buNone/>
              <a:tabLst/>
              <a:defRPr/>
            </a:pPr>
            <a:r>
              <a:rPr lang="en-US" altLang="ja-JP" dirty="0"/>
              <a:t>××</a:t>
            </a:r>
            <a:r>
              <a:rPr lang="ja-JP" altLang="en-US" dirty="0"/>
              <a:t>研究員</a:t>
            </a:r>
            <a:endParaRPr kumimoji="1" lang="ja-JP" altLang="en-US" dirty="0"/>
          </a:p>
        </p:txBody>
      </p:sp>
      <p:sp>
        <p:nvSpPr>
          <p:cNvPr id="34" name="楕円 33">
            <a:extLst>
              <a:ext uri="{FF2B5EF4-FFF2-40B4-BE49-F238E27FC236}">
                <a16:creationId xmlns:a16="http://schemas.microsoft.com/office/drawing/2014/main" id="{5A0DCC9C-4BA3-4EBC-ADFC-A0E400877AF0}"/>
              </a:ext>
            </a:extLst>
          </p:cNvPr>
          <p:cNvSpPr/>
          <p:nvPr userDrawn="1"/>
        </p:nvSpPr>
        <p:spPr>
          <a:xfrm>
            <a:off x="7061200" y="53294"/>
            <a:ext cx="204552" cy="204552"/>
          </a:xfrm>
          <a:prstGeom prst="ellipse">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楕円 34">
            <a:extLst>
              <a:ext uri="{FF2B5EF4-FFF2-40B4-BE49-F238E27FC236}">
                <a16:creationId xmlns:a16="http://schemas.microsoft.com/office/drawing/2014/main" id="{91A86664-5C54-422E-9845-CE43BCF48AD0}"/>
              </a:ext>
            </a:extLst>
          </p:cNvPr>
          <p:cNvSpPr/>
          <p:nvPr userDrawn="1"/>
        </p:nvSpPr>
        <p:spPr>
          <a:xfrm>
            <a:off x="7390822" y="53294"/>
            <a:ext cx="204552" cy="204552"/>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楕円 35">
            <a:extLst>
              <a:ext uri="{FF2B5EF4-FFF2-40B4-BE49-F238E27FC236}">
                <a16:creationId xmlns:a16="http://schemas.microsoft.com/office/drawing/2014/main" id="{2A907F00-5633-4967-B33F-377042B7E387}"/>
              </a:ext>
            </a:extLst>
          </p:cNvPr>
          <p:cNvSpPr/>
          <p:nvPr userDrawn="1"/>
        </p:nvSpPr>
        <p:spPr>
          <a:xfrm>
            <a:off x="7708235" y="53294"/>
            <a:ext cx="204552" cy="204552"/>
          </a:xfrm>
          <a:prstGeom prst="ellipse">
            <a:avLst/>
          </a:prstGeom>
          <a:solidFill>
            <a:srgbClr val="33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楕円 36">
            <a:extLst>
              <a:ext uri="{FF2B5EF4-FFF2-40B4-BE49-F238E27FC236}">
                <a16:creationId xmlns:a16="http://schemas.microsoft.com/office/drawing/2014/main" id="{57AD7F91-635E-4489-B2CA-6328658BAD8C}"/>
              </a:ext>
            </a:extLst>
          </p:cNvPr>
          <p:cNvSpPr/>
          <p:nvPr userDrawn="1"/>
        </p:nvSpPr>
        <p:spPr>
          <a:xfrm>
            <a:off x="8037857" y="53294"/>
            <a:ext cx="204552" cy="204552"/>
          </a:xfrm>
          <a:prstGeom prst="ellips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楕円 43">
            <a:extLst>
              <a:ext uri="{FF2B5EF4-FFF2-40B4-BE49-F238E27FC236}">
                <a16:creationId xmlns:a16="http://schemas.microsoft.com/office/drawing/2014/main" id="{449485E6-3EC9-4431-A64C-F786A63CDCC0}"/>
              </a:ext>
            </a:extLst>
          </p:cNvPr>
          <p:cNvSpPr/>
          <p:nvPr userDrawn="1"/>
        </p:nvSpPr>
        <p:spPr>
          <a:xfrm>
            <a:off x="8355270" y="53294"/>
            <a:ext cx="204552" cy="204552"/>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楕円 44">
            <a:extLst>
              <a:ext uri="{FF2B5EF4-FFF2-40B4-BE49-F238E27FC236}">
                <a16:creationId xmlns:a16="http://schemas.microsoft.com/office/drawing/2014/main" id="{8E7095D9-9696-4BA2-BDE1-B5383D653715}"/>
              </a:ext>
            </a:extLst>
          </p:cNvPr>
          <p:cNvSpPr/>
          <p:nvPr userDrawn="1"/>
        </p:nvSpPr>
        <p:spPr>
          <a:xfrm>
            <a:off x="8684892" y="53294"/>
            <a:ext cx="204552" cy="204552"/>
          </a:xfrm>
          <a:prstGeom prst="ellipse">
            <a:avLst/>
          </a:prstGeom>
          <a:solidFill>
            <a:srgbClr val="00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6" name="図 45" descr="4_3B_bar.gif">
            <a:extLst>
              <a:ext uri="{FF2B5EF4-FFF2-40B4-BE49-F238E27FC236}">
                <a16:creationId xmlns:a16="http://schemas.microsoft.com/office/drawing/2014/main" id="{7EA08A78-8AC3-46EB-8E29-881519E1AF84}"/>
              </a:ext>
            </a:extLst>
          </p:cNvPr>
          <p:cNvPicPr>
            <a:picLocks noChangeAspect="1"/>
          </p:cNvPicPr>
          <p:nvPr userDrawn="1"/>
        </p:nvPicPr>
        <p:blipFill>
          <a:blip r:embed="rId9"/>
          <a:stretch>
            <a:fillRect/>
          </a:stretch>
        </p:blipFill>
        <p:spPr>
          <a:xfrm>
            <a:off x="251523" y="39248"/>
            <a:ext cx="6684610" cy="228600"/>
          </a:xfrm>
          <a:prstGeom prst="rect">
            <a:avLst/>
          </a:prstGeom>
        </p:spPr>
      </p:pic>
    </p:spTree>
    <p:extLst>
      <p:ext uri="{BB962C8B-B14F-4D97-AF65-F5344CB8AC3E}">
        <p14:creationId xmlns:p14="http://schemas.microsoft.com/office/powerpoint/2010/main" val="1625929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ポイント３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836855591"/>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13" name="スライド番号プレースホルダ 13">
            <a:extLst>
              <a:ext uri="{FF2B5EF4-FFF2-40B4-BE49-F238E27FC236}">
                <a16:creationId xmlns:a16="http://schemas.microsoft.com/office/drawing/2014/main" id="{14D28EC6-3632-4319-85EE-2C9F2B5BDE87}"/>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rtl="0" fontAlgn="base">
              <a:spcBef>
                <a:spcPct val="0"/>
              </a:spcBef>
              <a:spcAft>
                <a:spcPct val="0"/>
              </a:spcAft>
              <a:defRPr kumimoji="1" lang="ja-JP" altLang="en-US" sz="1150" kern="1200" smtClean="0">
                <a:solidFill>
                  <a:srgbClr val="7F7F7F"/>
                </a:solidFill>
                <a:latin typeface="Arial" charset="0"/>
                <a:ea typeface="ＭＳ Ｐゴシック" charset="-128"/>
                <a:cs typeface="+mn-cs"/>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fld id="{BEE7E999-D39D-4DC4-8260-5547312FA60C}" type="slidenum">
              <a:rPr lang="en-US" altLang="ja-JP" sz="1416" smtClean="0">
                <a:latin typeface="+mn-lt"/>
              </a:rPr>
              <a:pPr/>
              <a:t>‹#›</a:t>
            </a:fld>
            <a:endParaRPr lang="en-US" sz="1416" dirty="0">
              <a:latin typeface="+mn-lt"/>
            </a:endParaRPr>
          </a:p>
        </p:txBody>
      </p:sp>
      <p:pic>
        <p:nvPicPr>
          <p:cNvPr id="28" name="図 27" descr="タイプB中ページライン.png">
            <a:extLst>
              <a:ext uri="{FF2B5EF4-FFF2-40B4-BE49-F238E27FC236}">
                <a16:creationId xmlns:a16="http://schemas.microsoft.com/office/drawing/2014/main" id="{3DD57C3D-8FB1-43CD-BD12-B070CC81835A}"/>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テキスト プレースホルダー 6">
            <a:extLst>
              <a:ext uri="{FF2B5EF4-FFF2-40B4-BE49-F238E27FC236}">
                <a16:creationId xmlns:a16="http://schemas.microsoft.com/office/drawing/2014/main" id="{6B99E14E-2C1F-45ED-BBDE-2012CA8441D5}"/>
              </a:ext>
            </a:extLst>
          </p:cNvPr>
          <p:cNvSpPr>
            <a:spLocks noGrp="1"/>
          </p:cNvSpPr>
          <p:nvPr>
            <p:ph type="body" sz="quarter" idx="21" hasCustomPrompt="1"/>
          </p:nvPr>
        </p:nvSpPr>
        <p:spPr>
          <a:xfrm>
            <a:off x="374492" y="1494054"/>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en-US" altLang="ja-JP" dirty="0"/>
              <a:t>Point 1</a:t>
            </a:r>
            <a:endParaRPr kumimoji="1" lang="ja-JP" altLang="en-US" dirty="0"/>
          </a:p>
        </p:txBody>
      </p:sp>
      <p:sp>
        <p:nvSpPr>
          <p:cNvPr id="20" name="テキスト プレースホルダー 6">
            <a:extLst>
              <a:ext uri="{FF2B5EF4-FFF2-40B4-BE49-F238E27FC236}">
                <a16:creationId xmlns:a16="http://schemas.microsoft.com/office/drawing/2014/main" id="{6EDD3A1E-B1BE-4D2C-8460-149098A8A525}"/>
              </a:ext>
            </a:extLst>
          </p:cNvPr>
          <p:cNvSpPr>
            <a:spLocks noGrp="1"/>
          </p:cNvSpPr>
          <p:nvPr>
            <p:ph type="body" sz="quarter" idx="23" hasCustomPrompt="1"/>
          </p:nvPr>
        </p:nvSpPr>
        <p:spPr>
          <a:xfrm>
            <a:off x="374492" y="3007265"/>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en-US" altLang="ja-JP" dirty="0"/>
              <a:t>Point 2</a:t>
            </a:r>
            <a:endParaRPr kumimoji="1" lang="ja-JP" altLang="en-US" dirty="0"/>
          </a:p>
        </p:txBody>
      </p:sp>
      <p:sp>
        <p:nvSpPr>
          <p:cNvPr id="22" name="テキスト プレースホルダー 6">
            <a:extLst>
              <a:ext uri="{FF2B5EF4-FFF2-40B4-BE49-F238E27FC236}">
                <a16:creationId xmlns:a16="http://schemas.microsoft.com/office/drawing/2014/main" id="{13376237-E2BD-4D52-8770-0D4810CA5275}"/>
              </a:ext>
            </a:extLst>
          </p:cNvPr>
          <p:cNvSpPr>
            <a:spLocks noGrp="1"/>
          </p:cNvSpPr>
          <p:nvPr>
            <p:ph type="body" sz="quarter" idx="25" hasCustomPrompt="1"/>
          </p:nvPr>
        </p:nvSpPr>
        <p:spPr>
          <a:xfrm>
            <a:off x="374492" y="4520477"/>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en-US" altLang="ja-JP" dirty="0"/>
              <a:t>Point 3</a:t>
            </a:r>
            <a:endParaRPr kumimoji="1" lang="ja-JP" altLang="en-US" dirty="0"/>
          </a:p>
        </p:txBody>
      </p:sp>
      <p:sp>
        <p:nvSpPr>
          <p:cNvPr id="24" name="テキスト プレースホルダー 8">
            <a:extLst>
              <a:ext uri="{FF2B5EF4-FFF2-40B4-BE49-F238E27FC236}">
                <a16:creationId xmlns:a16="http://schemas.microsoft.com/office/drawing/2014/main" id="{2B8F8514-9BEA-44CF-9FF2-44F5415FDC21}"/>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en-US" altLang="ja-JP" dirty="0"/>
              <a:t>Chapter title</a:t>
            </a:r>
            <a:endParaRPr kumimoji="1" lang="ja-JP" altLang="en-US" dirty="0"/>
          </a:p>
        </p:txBody>
      </p:sp>
      <p:sp>
        <p:nvSpPr>
          <p:cNvPr id="35" name="テキスト プレースホルダー 24">
            <a:extLst>
              <a:ext uri="{FF2B5EF4-FFF2-40B4-BE49-F238E27FC236}">
                <a16:creationId xmlns:a16="http://schemas.microsoft.com/office/drawing/2014/main" id="{AAD0256E-6E19-4127-AAE5-55033CC5C4B1}"/>
              </a:ext>
            </a:extLst>
          </p:cNvPr>
          <p:cNvSpPr>
            <a:spLocks noGrp="1"/>
          </p:cNvSpPr>
          <p:nvPr>
            <p:ph type="body" sz="quarter" idx="16" hasCustomPrompt="1"/>
          </p:nvPr>
        </p:nvSpPr>
        <p:spPr>
          <a:xfrm>
            <a:off x="1102990" y="6598225"/>
            <a:ext cx="7285439" cy="206105"/>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en-US" altLang="ja-JP" dirty="0"/>
              <a:t>Source: ZZZZZ</a:t>
            </a:r>
            <a:endParaRPr kumimoji="1" lang="ja-JP" altLang="en-US" dirty="0"/>
          </a:p>
        </p:txBody>
      </p:sp>
      <p:sp>
        <p:nvSpPr>
          <p:cNvPr id="36" name="テキスト プレースホルダー 21">
            <a:extLst>
              <a:ext uri="{FF2B5EF4-FFF2-40B4-BE49-F238E27FC236}">
                <a16:creationId xmlns:a16="http://schemas.microsoft.com/office/drawing/2014/main" id="{09222EBB-C4EF-4D63-844F-1BFD41C12261}"/>
              </a:ext>
            </a:extLst>
          </p:cNvPr>
          <p:cNvSpPr>
            <a:spLocks noGrp="1"/>
          </p:cNvSpPr>
          <p:nvPr>
            <p:ph type="body" sz="quarter" idx="15" hasCustomPrompt="1"/>
          </p:nvPr>
        </p:nvSpPr>
        <p:spPr>
          <a:xfrm>
            <a:off x="374496" y="6274340"/>
            <a:ext cx="8395015" cy="251004"/>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en-US" altLang="ja-JP" dirty="0"/>
              <a:t>Footnote: 1. </a:t>
            </a:r>
            <a:r>
              <a:rPr kumimoji="1" lang="en-US" altLang="ja-JP" dirty="0" err="1"/>
              <a:t>xxxxx</a:t>
            </a:r>
            <a:r>
              <a:rPr kumimoji="1" lang="ja-JP" altLang="en-US" dirty="0"/>
              <a:t>、</a:t>
            </a:r>
            <a:r>
              <a:rPr kumimoji="1" lang="en-US" altLang="ja-JP" dirty="0"/>
              <a:t>2. YYYYY</a:t>
            </a:r>
            <a:endParaRPr kumimoji="1" lang="ja-JP" altLang="en-US" dirty="0"/>
          </a:p>
        </p:txBody>
      </p:sp>
      <p:sp>
        <p:nvSpPr>
          <p:cNvPr id="16" name="タイトル 1">
            <a:extLst>
              <a:ext uri="{FF2B5EF4-FFF2-40B4-BE49-F238E27FC236}">
                <a16:creationId xmlns:a16="http://schemas.microsoft.com/office/drawing/2014/main" id="{57F0C2AA-A7BD-47C1-B2FD-FCEBFBCD392F}"/>
              </a:ext>
            </a:extLst>
          </p:cNvPr>
          <p:cNvSpPr>
            <a:spLocks noGrp="1"/>
          </p:cNvSpPr>
          <p:nvPr>
            <p:ph type="title" hasCustomPrompt="1"/>
          </p:nvPr>
        </p:nvSpPr>
        <p:spPr>
          <a:xfrm>
            <a:off x="374496" y="332656"/>
            <a:ext cx="8395015" cy="779116"/>
          </a:xfrm>
          <a:noFill/>
        </p:spPr>
        <p:txBody>
          <a:bodyPr vert="horz" lIns="36000" anchor="ctr"/>
          <a:lstStyle>
            <a:lvl1pPr algn="l">
              <a:defRPr sz="2400" b="1"/>
            </a:lvl1pPr>
          </a:lstStyle>
          <a:p>
            <a:r>
              <a:rPr lang="en-US" altLang="ja-JP" dirty="0"/>
              <a:t>Slide title (in 1~2 lines) </a:t>
            </a:r>
            <a:endParaRPr lang="ja-JP" altLang="en-US" dirty="0"/>
          </a:p>
        </p:txBody>
      </p:sp>
      <p:sp>
        <p:nvSpPr>
          <p:cNvPr id="23" name="テキスト プレースホルダー 6">
            <a:extLst>
              <a:ext uri="{FF2B5EF4-FFF2-40B4-BE49-F238E27FC236}">
                <a16:creationId xmlns:a16="http://schemas.microsoft.com/office/drawing/2014/main" id="{99013CC8-50A6-457B-928E-BC10132B3B2E}"/>
              </a:ext>
            </a:extLst>
          </p:cNvPr>
          <p:cNvSpPr>
            <a:spLocks noGrp="1"/>
          </p:cNvSpPr>
          <p:nvPr>
            <p:ph type="body" sz="quarter" idx="20"/>
          </p:nvPr>
        </p:nvSpPr>
        <p:spPr>
          <a:xfrm>
            <a:off x="1763689" y="1494054"/>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25" name="テキスト プレースホルダー 6">
            <a:extLst>
              <a:ext uri="{FF2B5EF4-FFF2-40B4-BE49-F238E27FC236}">
                <a16:creationId xmlns:a16="http://schemas.microsoft.com/office/drawing/2014/main" id="{ABD30102-0568-43A5-97FA-1737A3E4062E}"/>
              </a:ext>
            </a:extLst>
          </p:cNvPr>
          <p:cNvSpPr>
            <a:spLocks noGrp="1"/>
          </p:cNvSpPr>
          <p:nvPr>
            <p:ph type="body" sz="quarter" idx="22"/>
          </p:nvPr>
        </p:nvSpPr>
        <p:spPr>
          <a:xfrm>
            <a:off x="1763689" y="2995822"/>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26" name="テキスト プレースホルダー 6">
            <a:extLst>
              <a:ext uri="{FF2B5EF4-FFF2-40B4-BE49-F238E27FC236}">
                <a16:creationId xmlns:a16="http://schemas.microsoft.com/office/drawing/2014/main" id="{FD651D6B-930C-4BF6-8B33-4A09E9ED7C4D}"/>
              </a:ext>
            </a:extLst>
          </p:cNvPr>
          <p:cNvSpPr>
            <a:spLocks noGrp="1"/>
          </p:cNvSpPr>
          <p:nvPr>
            <p:ph type="body" sz="quarter" idx="24"/>
          </p:nvPr>
        </p:nvSpPr>
        <p:spPr>
          <a:xfrm>
            <a:off x="1763689" y="4520477"/>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2" name="フッター プレースホルダ 4">
            <a:extLst>
              <a:ext uri="{FF2B5EF4-FFF2-40B4-BE49-F238E27FC236}">
                <a16:creationId xmlns:a16="http://schemas.microsoft.com/office/drawing/2014/main" id="{E7E0364F-A1F8-23E4-E5F0-3AC0E6605152}"/>
              </a:ext>
            </a:extLst>
          </p:cNvPr>
          <p:cNvSpPr>
            <a:spLocks noGrp="1"/>
          </p:cNvSpPr>
          <p:nvPr>
            <p:ph type="ftr" sz="quarter" idx="11"/>
          </p:nvPr>
        </p:nvSpPr>
        <p:spPr>
          <a:xfrm>
            <a:off x="1028329" y="6543432"/>
            <a:ext cx="591344" cy="274324"/>
          </a:xfrm>
          <a:prstGeom prst="rect">
            <a:avLst/>
          </a:prstGeom>
        </p:spPr>
        <p:txBody>
          <a:bodyPr vert="horz" lIns="91440" tIns="45720" rIns="91440" bIns="45720" rtlCol="0" anchor="ctr"/>
          <a:lstStyle>
            <a:defPPr>
              <a:defRPr lang="ja-JP"/>
            </a:defPPr>
            <a:lvl1pPr algn="l" rtl="0" fontAlgn="auto">
              <a:spcBef>
                <a:spcPts val="0"/>
              </a:spcBef>
              <a:spcAft>
                <a:spcPts val="0"/>
              </a:spcAft>
              <a:defRPr kumimoji="1" sz="1200" b="1" kern="1200">
                <a:solidFill>
                  <a:schemeClr val="bg1">
                    <a:lumMod val="50000"/>
                  </a:schemeClr>
                </a:solidFill>
                <a:latin typeface="Century Gothic" pitchFamily="34" charset="0"/>
                <a:ea typeface="+mn-ea"/>
                <a:cs typeface="Arial" pitchFamily="34" charset="0"/>
              </a:defRPr>
            </a:lvl1pPr>
            <a:lvl2pPr marL="562705" algn="l" rtl="0" fontAlgn="base">
              <a:spcBef>
                <a:spcPct val="0"/>
              </a:spcBef>
              <a:spcAft>
                <a:spcPct val="0"/>
              </a:spcAft>
              <a:defRPr kumimoji="1" kern="1200">
                <a:solidFill>
                  <a:schemeClr val="tx1"/>
                </a:solidFill>
                <a:latin typeface="Arial" charset="0"/>
                <a:ea typeface="ＭＳ Ｐゴシック" charset="-128"/>
                <a:cs typeface="+mn-cs"/>
              </a:defRPr>
            </a:lvl2pPr>
            <a:lvl3pPr marL="1125411" algn="l" rtl="0" fontAlgn="base">
              <a:spcBef>
                <a:spcPct val="0"/>
              </a:spcBef>
              <a:spcAft>
                <a:spcPct val="0"/>
              </a:spcAft>
              <a:defRPr kumimoji="1" kern="1200">
                <a:solidFill>
                  <a:schemeClr val="tx1"/>
                </a:solidFill>
                <a:latin typeface="Arial" charset="0"/>
                <a:ea typeface="ＭＳ Ｐゴシック" charset="-128"/>
                <a:cs typeface="+mn-cs"/>
              </a:defRPr>
            </a:lvl3pPr>
            <a:lvl4pPr marL="1688112" algn="l" rtl="0" fontAlgn="base">
              <a:spcBef>
                <a:spcPct val="0"/>
              </a:spcBef>
              <a:spcAft>
                <a:spcPct val="0"/>
              </a:spcAft>
              <a:defRPr kumimoji="1" kern="1200">
                <a:solidFill>
                  <a:schemeClr val="tx1"/>
                </a:solidFill>
                <a:latin typeface="Arial" charset="0"/>
                <a:ea typeface="ＭＳ Ｐゴシック" charset="-128"/>
                <a:cs typeface="+mn-cs"/>
              </a:defRPr>
            </a:lvl4pPr>
            <a:lvl5pPr marL="2250818" algn="l" rtl="0" fontAlgn="base">
              <a:spcBef>
                <a:spcPct val="0"/>
              </a:spcBef>
              <a:spcAft>
                <a:spcPct val="0"/>
              </a:spcAft>
              <a:defRPr kumimoji="1" kern="1200">
                <a:solidFill>
                  <a:schemeClr val="tx1"/>
                </a:solidFill>
                <a:latin typeface="Arial" charset="0"/>
                <a:ea typeface="ＭＳ Ｐゴシック" charset="-128"/>
                <a:cs typeface="+mn-cs"/>
              </a:defRPr>
            </a:lvl5pPr>
            <a:lvl6pPr marL="2813523" algn="l" defTabSz="1125411" rtl="0" eaLnBrk="1" latinLnBrk="0" hangingPunct="1">
              <a:defRPr kumimoji="1" kern="1200">
                <a:solidFill>
                  <a:schemeClr val="tx1"/>
                </a:solidFill>
                <a:latin typeface="Arial" charset="0"/>
                <a:ea typeface="ＭＳ Ｐゴシック" charset="-128"/>
                <a:cs typeface="+mn-cs"/>
              </a:defRPr>
            </a:lvl6pPr>
            <a:lvl7pPr marL="3376226" algn="l" defTabSz="1125411" rtl="0" eaLnBrk="1" latinLnBrk="0" hangingPunct="1">
              <a:defRPr kumimoji="1" kern="1200">
                <a:solidFill>
                  <a:schemeClr val="tx1"/>
                </a:solidFill>
                <a:latin typeface="Arial" charset="0"/>
                <a:ea typeface="ＭＳ Ｐゴシック" charset="-128"/>
                <a:cs typeface="+mn-cs"/>
              </a:defRPr>
            </a:lvl7pPr>
            <a:lvl8pPr marL="3938931" algn="l" defTabSz="1125411" rtl="0" eaLnBrk="1" latinLnBrk="0" hangingPunct="1">
              <a:defRPr kumimoji="1" kern="1200">
                <a:solidFill>
                  <a:schemeClr val="tx1"/>
                </a:solidFill>
                <a:latin typeface="Arial" charset="0"/>
                <a:ea typeface="ＭＳ Ｐゴシック" charset="-128"/>
                <a:cs typeface="+mn-cs"/>
              </a:defRPr>
            </a:lvl8pPr>
            <a:lvl9pPr marL="4501635" algn="l" defTabSz="1125411" rtl="0" eaLnBrk="1" latinLnBrk="0" hangingPunct="1">
              <a:defRPr kumimoji="1" kern="1200">
                <a:solidFill>
                  <a:schemeClr val="tx1"/>
                </a:solidFill>
                <a:latin typeface="Arial" charset="0"/>
                <a:ea typeface="ＭＳ Ｐゴシック" charset="-128"/>
                <a:cs typeface="+mn-cs"/>
              </a:defRPr>
            </a:lvl9pPr>
          </a:lstStyle>
          <a:p>
            <a:pPr>
              <a:defRPr/>
            </a:pPr>
            <a:r>
              <a:rPr lang="en-US" altLang="ja-JP" dirty="0"/>
              <a:t>2025</a:t>
            </a:r>
            <a:endParaRPr lang="ja-JP" altLang="en-US" dirty="0"/>
          </a:p>
        </p:txBody>
      </p:sp>
    </p:spTree>
    <p:extLst>
      <p:ext uri="{BB962C8B-B14F-4D97-AF65-F5344CB8AC3E}">
        <p14:creationId xmlns:p14="http://schemas.microsoft.com/office/powerpoint/2010/main" val="35863119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図1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2969291906"/>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pic>
        <p:nvPicPr>
          <p:cNvPr id="12" name="図 11" descr="タイプB中ページライン.png">
            <a:extLst>
              <a:ext uri="{FF2B5EF4-FFF2-40B4-BE49-F238E27FC236}">
                <a16:creationId xmlns:a16="http://schemas.microsoft.com/office/drawing/2014/main" id="{CF57CD68-6747-4A0C-81E6-8448EFD6A90D}"/>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スライド番号プレースホルダ 13">
            <a:extLst>
              <a:ext uri="{FF2B5EF4-FFF2-40B4-BE49-F238E27FC236}">
                <a16:creationId xmlns:a16="http://schemas.microsoft.com/office/drawing/2014/main" id="{E099CB60-AD94-4871-9519-AF7617285172}"/>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sp>
        <p:nvSpPr>
          <p:cNvPr id="13" name="テキスト プレースホルダー 15">
            <a:extLst>
              <a:ext uri="{FF2B5EF4-FFF2-40B4-BE49-F238E27FC236}">
                <a16:creationId xmlns:a16="http://schemas.microsoft.com/office/drawing/2014/main" id="{B4E6F74A-00AA-41FF-B035-A70578A84549}"/>
              </a:ext>
            </a:extLst>
          </p:cNvPr>
          <p:cNvSpPr>
            <a:spLocks noGrp="1"/>
          </p:cNvSpPr>
          <p:nvPr>
            <p:ph type="body" sz="quarter" idx="14"/>
          </p:nvPr>
        </p:nvSpPr>
        <p:spPr>
          <a:xfrm>
            <a:off x="374495" y="1337832"/>
            <a:ext cx="2253291" cy="4559015"/>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a:lvl1pPr>
            <a:lvl2pPr>
              <a:defRPr lang="ja-JP" altLang="en-US" dirty="0"/>
            </a:lvl2pPr>
            <a:lvl3pPr>
              <a:defRPr lang="ja-JP" altLang="en-US" dirty="0"/>
            </a:lvl3pPr>
            <a:lvl4pPr>
              <a:defRPr lang="ja-JP" altLang="en-US" dirty="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20" name="テキスト プレースホルダー 21">
            <a:extLst>
              <a:ext uri="{FF2B5EF4-FFF2-40B4-BE49-F238E27FC236}">
                <a16:creationId xmlns:a16="http://schemas.microsoft.com/office/drawing/2014/main" id="{3702953B-7F25-47FF-8D6A-96D6DDFE77C4}"/>
              </a:ext>
            </a:extLst>
          </p:cNvPr>
          <p:cNvSpPr>
            <a:spLocks noGrp="1"/>
          </p:cNvSpPr>
          <p:nvPr>
            <p:ph type="body" sz="quarter" idx="18" hasCustomPrompt="1"/>
          </p:nvPr>
        </p:nvSpPr>
        <p:spPr>
          <a:xfrm>
            <a:off x="2771777" y="1337832"/>
            <a:ext cx="5997732" cy="308542"/>
          </a:xfrm>
        </p:spPr>
        <p:txBody>
          <a:bodyPr/>
          <a:lstStyle>
            <a:lvl1pPr marL="0" indent="0">
              <a:buNone/>
              <a:defRPr sz="1600" b="1"/>
            </a:lvl1pPr>
            <a:lvl2pPr>
              <a:defRPr sz="923"/>
            </a:lvl2pPr>
            <a:lvl3pPr>
              <a:defRPr sz="923"/>
            </a:lvl3pPr>
            <a:lvl4pPr>
              <a:defRPr sz="923"/>
            </a:lvl4pPr>
            <a:lvl5pPr>
              <a:defRPr sz="923"/>
            </a:lvl5pPr>
          </a:lstStyle>
          <a:p>
            <a:pPr lvl="0"/>
            <a:r>
              <a:rPr kumimoji="1" lang="en-US" altLang="ja-JP" dirty="0"/>
              <a:t>Image title</a:t>
            </a:r>
            <a:r>
              <a:rPr kumimoji="1" lang="ja-JP" altLang="en-US" dirty="0"/>
              <a:t> </a:t>
            </a:r>
            <a:r>
              <a:rPr kumimoji="1" lang="en-US" altLang="ja-JP" dirty="0"/>
              <a:t>(underline below)</a:t>
            </a:r>
            <a:endParaRPr kumimoji="1" lang="ja-JP" altLang="en-US" dirty="0"/>
          </a:p>
        </p:txBody>
      </p:sp>
      <p:sp>
        <p:nvSpPr>
          <p:cNvPr id="21" name="コンテンツ プレースホルダー 18">
            <a:extLst>
              <a:ext uri="{FF2B5EF4-FFF2-40B4-BE49-F238E27FC236}">
                <a16:creationId xmlns:a16="http://schemas.microsoft.com/office/drawing/2014/main" id="{E28F2A67-2936-427A-A2B3-716F93A3BBFF}"/>
              </a:ext>
            </a:extLst>
          </p:cNvPr>
          <p:cNvSpPr>
            <a:spLocks noGrp="1"/>
          </p:cNvSpPr>
          <p:nvPr>
            <p:ph sz="quarter" idx="20" hasCustomPrompt="1"/>
          </p:nvPr>
        </p:nvSpPr>
        <p:spPr>
          <a:xfrm>
            <a:off x="2771780" y="1778002"/>
            <a:ext cx="5997731" cy="4118851"/>
          </a:xfrm>
        </p:spPr>
        <p:txBody>
          <a:bodyPr/>
          <a:lstStyle>
            <a:lvl1pPr marL="0" indent="0">
              <a:buNone/>
              <a:defRPr/>
            </a:lvl1pPr>
          </a:lstStyle>
          <a:p>
            <a:pPr lvl="0"/>
            <a:r>
              <a:rPr kumimoji="1" lang="ja-JP" altLang="en-US" dirty="0"/>
              <a:t>図表の挿入箇所</a:t>
            </a:r>
          </a:p>
        </p:txBody>
      </p:sp>
      <p:sp>
        <p:nvSpPr>
          <p:cNvPr id="22" name="テキスト プレースホルダー 8">
            <a:extLst>
              <a:ext uri="{FF2B5EF4-FFF2-40B4-BE49-F238E27FC236}">
                <a16:creationId xmlns:a16="http://schemas.microsoft.com/office/drawing/2014/main" id="{15657251-B37E-4F47-A90D-D771BA2E082D}"/>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en-US" altLang="ja-JP" dirty="0"/>
              <a:t>Chapter title</a:t>
            </a:r>
            <a:endParaRPr kumimoji="1" lang="ja-JP" altLang="en-US" dirty="0"/>
          </a:p>
        </p:txBody>
      </p:sp>
      <p:sp>
        <p:nvSpPr>
          <p:cNvPr id="23" name="テキスト プレースホルダー 24">
            <a:extLst>
              <a:ext uri="{FF2B5EF4-FFF2-40B4-BE49-F238E27FC236}">
                <a16:creationId xmlns:a16="http://schemas.microsoft.com/office/drawing/2014/main" id="{301DDC25-79A0-4AC8-B359-56891E63692B}"/>
              </a:ext>
            </a:extLst>
          </p:cNvPr>
          <p:cNvSpPr>
            <a:spLocks noGrp="1"/>
          </p:cNvSpPr>
          <p:nvPr>
            <p:ph type="body" sz="quarter" idx="16" hasCustomPrompt="1"/>
          </p:nvPr>
        </p:nvSpPr>
        <p:spPr>
          <a:xfrm>
            <a:off x="1102990" y="6598225"/>
            <a:ext cx="7285439" cy="206105"/>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en-US" altLang="ja-JP" dirty="0"/>
              <a:t>Source: ZZZZZ</a:t>
            </a:r>
            <a:endParaRPr kumimoji="1" lang="ja-JP" altLang="en-US" dirty="0"/>
          </a:p>
        </p:txBody>
      </p:sp>
      <p:sp>
        <p:nvSpPr>
          <p:cNvPr id="24" name="テキスト プレースホルダー 21">
            <a:extLst>
              <a:ext uri="{FF2B5EF4-FFF2-40B4-BE49-F238E27FC236}">
                <a16:creationId xmlns:a16="http://schemas.microsoft.com/office/drawing/2014/main" id="{A553FF20-C946-44A1-8B04-31C340B554F3}"/>
              </a:ext>
            </a:extLst>
          </p:cNvPr>
          <p:cNvSpPr>
            <a:spLocks noGrp="1"/>
          </p:cNvSpPr>
          <p:nvPr>
            <p:ph type="body" sz="quarter" idx="15" hasCustomPrompt="1"/>
          </p:nvPr>
        </p:nvSpPr>
        <p:spPr>
          <a:xfrm>
            <a:off x="374496" y="6274340"/>
            <a:ext cx="8395015" cy="251004"/>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en-US" altLang="ja-JP" dirty="0"/>
              <a:t>Footnote: 1. </a:t>
            </a:r>
            <a:r>
              <a:rPr kumimoji="1" lang="en-US" altLang="ja-JP" dirty="0" err="1"/>
              <a:t>xxxxx</a:t>
            </a:r>
            <a:r>
              <a:rPr kumimoji="1" lang="ja-JP" altLang="en-US" dirty="0"/>
              <a:t>、</a:t>
            </a:r>
            <a:r>
              <a:rPr kumimoji="1" lang="en-US" altLang="ja-JP" dirty="0"/>
              <a:t>2. YYYYY</a:t>
            </a:r>
            <a:endParaRPr kumimoji="1" lang="ja-JP" altLang="en-US" dirty="0"/>
          </a:p>
        </p:txBody>
      </p:sp>
      <p:sp>
        <p:nvSpPr>
          <p:cNvPr id="14" name="タイトル 1">
            <a:extLst>
              <a:ext uri="{FF2B5EF4-FFF2-40B4-BE49-F238E27FC236}">
                <a16:creationId xmlns:a16="http://schemas.microsoft.com/office/drawing/2014/main" id="{795A6576-6815-4087-B799-CBB2626FD37A}"/>
              </a:ext>
            </a:extLst>
          </p:cNvPr>
          <p:cNvSpPr>
            <a:spLocks noGrp="1"/>
          </p:cNvSpPr>
          <p:nvPr>
            <p:ph type="title" hasCustomPrompt="1"/>
          </p:nvPr>
        </p:nvSpPr>
        <p:spPr>
          <a:xfrm>
            <a:off x="374496" y="332656"/>
            <a:ext cx="8395015" cy="779116"/>
          </a:xfrm>
          <a:noFill/>
        </p:spPr>
        <p:txBody>
          <a:bodyPr vert="horz" lIns="36000" anchor="ctr"/>
          <a:lstStyle>
            <a:lvl1pPr algn="l">
              <a:defRPr sz="2400" b="1"/>
            </a:lvl1pPr>
          </a:lstStyle>
          <a:p>
            <a:r>
              <a:rPr lang="en-US" altLang="ja-JP" dirty="0"/>
              <a:t>Slide title (in 1~2 lines) </a:t>
            </a:r>
            <a:endParaRPr lang="ja-JP" altLang="en-US" dirty="0"/>
          </a:p>
        </p:txBody>
      </p:sp>
      <p:sp>
        <p:nvSpPr>
          <p:cNvPr id="2" name="フッター プレースホルダ 4">
            <a:extLst>
              <a:ext uri="{FF2B5EF4-FFF2-40B4-BE49-F238E27FC236}">
                <a16:creationId xmlns:a16="http://schemas.microsoft.com/office/drawing/2014/main" id="{B331DE5E-FD41-810A-AE89-B673071CC021}"/>
              </a:ext>
            </a:extLst>
          </p:cNvPr>
          <p:cNvSpPr>
            <a:spLocks noGrp="1"/>
          </p:cNvSpPr>
          <p:nvPr>
            <p:ph type="ftr" sz="quarter" idx="11"/>
          </p:nvPr>
        </p:nvSpPr>
        <p:spPr>
          <a:xfrm>
            <a:off x="1028329" y="6543432"/>
            <a:ext cx="591344" cy="274324"/>
          </a:xfrm>
          <a:prstGeom prst="rect">
            <a:avLst/>
          </a:prstGeom>
        </p:spPr>
        <p:txBody>
          <a:bodyPr vert="horz" lIns="91440" tIns="45720" rIns="91440" bIns="45720" rtlCol="0" anchor="ctr"/>
          <a:lstStyle>
            <a:defPPr>
              <a:defRPr lang="ja-JP"/>
            </a:defPPr>
            <a:lvl1pPr algn="l" rtl="0" fontAlgn="auto">
              <a:spcBef>
                <a:spcPts val="0"/>
              </a:spcBef>
              <a:spcAft>
                <a:spcPts val="0"/>
              </a:spcAft>
              <a:defRPr kumimoji="1" sz="1200" b="1" kern="1200">
                <a:solidFill>
                  <a:schemeClr val="bg1">
                    <a:lumMod val="50000"/>
                  </a:schemeClr>
                </a:solidFill>
                <a:latin typeface="Century Gothic" pitchFamily="34" charset="0"/>
                <a:ea typeface="+mn-ea"/>
                <a:cs typeface="Arial" pitchFamily="34" charset="0"/>
              </a:defRPr>
            </a:lvl1pPr>
            <a:lvl2pPr marL="562705" algn="l" rtl="0" fontAlgn="base">
              <a:spcBef>
                <a:spcPct val="0"/>
              </a:spcBef>
              <a:spcAft>
                <a:spcPct val="0"/>
              </a:spcAft>
              <a:defRPr kumimoji="1" kern="1200">
                <a:solidFill>
                  <a:schemeClr val="tx1"/>
                </a:solidFill>
                <a:latin typeface="Arial" charset="0"/>
                <a:ea typeface="ＭＳ Ｐゴシック" charset="-128"/>
                <a:cs typeface="+mn-cs"/>
              </a:defRPr>
            </a:lvl2pPr>
            <a:lvl3pPr marL="1125411" algn="l" rtl="0" fontAlgn="base">
              <a:spcBef>
                <a:spcPct val="0"/>
              </a:spcBef>
              <a:spcAft>
                <a:spcPct val="0"/>
              </a:spcAft>
              <a:defRPr kumimoji="1" kern="1200">
                <a:solidFill>
                  <a:schemeClr val="tx1"/>
                </a:solidFill>
                <a:latin typeface="Arial" charset="0"/>
                <a:ea typeface="ＭＳ Ｐゴシック" charset="-128"/>
                <a:cs typeface="+mn-cs"/>
              </a:defRPr>
            </a:lvl3pPr>
            <a:lvl4pPr marL="1688112" algn="l" rtl="0" fontAlgn="base">
              <a:spcBef>
                <a:spcPct val="0"/>
              </a:spcBef>
              <a:spcAft>
                <a:spcPct val="0"/>
              </a:spcAft>
              <a:defRPr kumimoji="1" kern="1200">
                <a:solidFill>
                  <a:schemeClr val="tx1"/>
                </a:solidFill>
                <a:latin typeface="Arial" charset="0"/>
                <a:ea typeface="ＭＳ Ｐゴシック" charset="-128"/>
                <a:cs typeface="+mn-cs"/>
              </a:defRPr>
            </a:lvl4pPr>
            <a:lvl5pPr marL="2250818" algn="l" rtl="0" fontAlgn="base">
              <a:spcBef>
                <a:spcPct val="0"/>
              </a:spcBef>
              <a:spcAft>
                <a:spcPct val="0"/>
              </a:spcAft>
              <a:defRPr kumimoji="1" kern="1200">
                <a:solidFill>
                  <a:schemeClr val="tx1"/>
                </a:solidFill>
                <a:latin typeface="Arial" charset="0"/>
                <a:ea typeface="ＭＳ Ｐゴシック" charset="-128"/>
                <a:cs typeface="+mn-cs"/>
              </a:defRPr>
            </a:lvl5pPr>
            <a:lvl6pPr marL="2813523" algn="l" defTabSz="1125411" rtl="0" eaLnBrk="1" latinLnBrk="0" hangingPunct="1">
              <a:defRPr kumimoji="1" kern="1200">
                <a:solidFill>
                  <a:schemeClr val="tx1"/>
                </a:solidFill>
                <a:latin typeface="Arial" charset="0"/>
                <a:ea typeface="ＭＳ Ｐゴシック" charset="-128"/>
                <a:cs typeface="+mn-cs"/>
              </a:defRPr>
            </a:lvl6pPr>
            <a:lvl7pPr marL="3376226" algn="l" defTabSz="1125411" rtl="0" eaLnBrk="1" latinLnBrk="0" hangingPunct="1">
              <a:defRPr kumimoji="1" kern="1200">
                <a:solidFill>
                  <a:schemeClr val="tx1"/>
                </a:solidFill>
                <a:latin typeface="Arial" charset="0"/>
                <a:ea typeface="ＭＳ Ｐゴシック" charset="-128"/>
                <a:cs typeface="+mn-cs"/>
              </a:defRPr>
            </a:lvl7pPr>
            <a:lvl8pPr marL="3938931" algn="l" defTabSz="1125411" rtl="0" eaLnBrk="1" latinLnBrk="0" hangingPunct="1">
              <a:defRPr kumimoji="1" kern="1200">
                <a:solidFill>
                  <a:schemeClr val="tx1"/>
                </a:solidFill>
                <a:latin typeface="Arial" charset="0"/>
                <a:ea typeface="ＭＳ Ｐゴシック" charset="-128"/>
                <a:cs typeface="+mn-cs"/>
              </a:defRPr>
            </a:lvl8pPr>
            <a:lvl9pPr marL="4501635" algn="l" defTabSz="1125411" rtl="0" eaLnBrk="1" latinLnBrk="0" hangingPunct="1">
              <a:defRPr kumimoji="1" kern="1200">
                <a:solidFill>
                  <a:schemeClr val="tx1"/>
                </a:solidFill>
                <a:latin typeface="Arial" charset="0"/>
                <a:ea typeface="ＭＳ Ｐゴシック" charset="-128"/>
                <a:cs typeface="+mn-cs"/>
              </a:defRPr>
            </a:lvl9pPr>
          </a:lstStyle>
          <a:p>
            <a:pPr>
              <a:defRPr/>
            </a:pPr>
            <a:r>
              <a:rPr lang="en-US" altLang="ja-JP" dirty="0"/>
              <a:t>2025</a:t>
            </a:r>
            <a:endParaRPr lang="ja-JP" altLang="en-US" dirty="0"/>
          </a:p>
        </p:txBody>
      </p:sp>
    </p:spTree>
    <p:extLst>
      <p:ext uri="{BB962C8B-B14F-4D97-AF65-F5344CB8AC3E}">
        <p14:creationId xmlns:p14="http://schemas.microsoft.com/office/powerpoint/2010/main" val="24975734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graphicFrame>
        <p:nvGraphicFramePr>
          <p:cNvPr id="16" name="オブジェクト 15" hidden="1">
            <a:extLst>
              <a:ext uri="{FF2B5EF4-FFF2-40B4-BE49-F238E27FC236}">
                <a16:creationId xmlns:a16="http://schemas.microsoft.com/office/drawing/2014/main" id="{3FAE9E2C-0BA3-4FBF-A16D-79AD7DD2FFDA}"/>
              </a:ext>
            </a:extLst>
          </p:cNvPr>
          <p:cNvGraphicFramePr>
            <a:graphicFrameLocks noChangeAspect="1"/>
          </p:cNvGraphicFramePr>
          <p:nvPr userDrawn="1">
            <p:custDataLst>
              <p:tags r:id="rId1"/>
            </p:custDataLst>
            <p:extLst>
              <p:ext uri="{D42A27DB-BD31-4B8C-83A1-F6EECF244321}">
                <p14:modId xmlns:p14="http://schemas.microsoft.com/office/powerpoint/2010/main" val="351837671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16" name="オブジェクト 15" hidden="1">
                        <a:extLst>
                          <a:ext uri="{FF2B5EF4-FFF2-40B4-BE49-F238E27FC236}">
                            <a16:creationId xmlns:a16="http://schemas.microsoft.com/office/drawing/2014/main" id="{3FAE9E2C-0BA3-4FBF-A16D-79AD7DD2FFDA}"/>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15" name="正方形/長方形 14" hidden="1">
            <a:extLst>
              <a:ext uri="{FF2B5EF4-FFF2-40B4-BE49-F238E27FC236}">
                <a16:creationId xmlns:a16="http://schemas.microsoft.com/office/drawing/2014/main" id="{568A21FC-1FDF-4A24-82C9-6B6B37A46879}"/>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3692" b="0"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grpSp>
        <p:nvGrpSpPr>
          <p:cNvPr id="17" name="グループ化 16">
            <a:extLst>
              <a:ext uri="{FF2B5EF4-FFF2-40B4-BE49-F238E27FC236}">
                <a16:creationId xmlns:a16="http://schemas.microsoft.com/office/drawing/2014/main" id="{7EF8B074-1C62-4DD5-8833-98567A24AC25}"/>
              </a:ext>
            </a:extLst>
          </p:cNvPr>
          <p:cNvGrpSpPr/>
          <p:nvPr userDrawn="1"/>
        </p:nvGrpSpPr>
        <p:grpSpPr>
          <a:xfrm>
            <a:off x="95250" y="104775"/>
            <a:ext cx="8953500" cy="6648450"/>
            <a:chOff x="95250" y="104775"/>
            <a:chExt cx="8953500" cy="6648450"/>
          </a:xfrm>
        </p:grpSpPr>
        <p:pic>
          <p:nvPicPr>
            <p:cNvPr id="18" name="図 17" descr="4_3A_title.gif">
              <a:extLst>
                <a:ext uri="{FF2B5EF4-FFF2-40B4-BE49-F238E27FC236}">
                  <a16:creationId xmlns:a16="http://schemas.microsoft.com/office/drawing/2014/main" id="{9D32684D-7A50-43F1-8A2D-624A06BB71B6}"/>
                </a:ext>
              </a:extLst>
            </p:cNvPr>
            <p:cNvPicPr>
              <a:picLocks noChangeAspect="1"/>
            </p:cNvPicPr>
            <p:nvPr userDrawn="1"/>
          </p:nvPicPr>
          <p:blipFill>
            <a:blip r:embed="rId6" cstate="print"/>
            <a:stretch>
              <a:fillRect/>
            </a:stretch>
          </p:blipFill>
          <p:spPr>
            <a:xfrm>
              <a:off x="95250" y="104775"/>
              <a:ext cx="8953500" cy="6648450"/>
            </a:xfrm>
            <a:prstGeom prst="rect">
              <a:avLst/>
            </a:prstGeom>
          </p:spPr>
        </p:pic>
        <p:pic>
          <p:nvPicPr>
            <p:cNvPr id="19" name="図 18">
              <a:extLst>
                <a:ext uri="{FF2B5EF4-FFF2-40B4-BE49-F238E27FC236}">
                  <a16:creationId xmlns:a16="http://schemas.microsoft.com/office/drawing/2014/main" id="{1C394D98-E5C0-43ED-ACCE-3F8D36E807E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251520" y="6508853"/>
              <a:ext cx="763200" cy="160507"/>
            </a:xfrm>
            <a:prstGeom prst="rect">
              <a:avLst/>
            </a:prstGeom>
          </p:spPr>
        </p:pic>
        <p:pic>
          <p:nvPicPr>
            <p:cNvPr id="20" name="図 19">
              <a:extLst>
                <a:ext uri="{FF2B5EF4-FFF2-40B4-BE49-F238E27FC236}">
                  <a16:creationId xmlns:a16="http://schemas.microsoft.com/office/drawing/2014/main" id="{C26A55DB-AA25-4595-B65A-F47CDE062A02}"/>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308304" y="6524960"/>
              <a:ext cx="1688592" cy="216408"/>
            </a:xfrm>
            <a:prstGeom prst="rect">
              <a:avLst/>
            </a:prstGeom>
          </p:spPr>
        </p:pic>
      </p:grpSp>
      <p:sp>
        <p:nvSpPr>
          <p:cNvPr id="2" name="タイトル 1"/>
          <p:cNvSpPr>
            <a:spLocks noGrp="1"/>
          </p:cNvSpPr>
          <p:nvPr>
            <p:ph type="ctrTitle" hasCustomPrompt="1"/>
          </p:nvPr>
        </p:nvSpPr>
        <p:spPr>
          <a:xfrm>
            <a:off x="685800" y="1268762"/>
            <a:ext cx="7772400" cy="1470026"/>
          </a:xfrm>
          <a:noFill/>
        </p:spPr>
        <p:txBody>
          <a:bodyPr anchor="b"/>
          <a:lstStyle>
            <a:lvl1pPr>
              <a:defRPr sz="3600" b="1">
                <a:solidFill>
                  <a:schemeClr val="bg1"/>
                </a:solidFill>
              </a:defRPr>
            </a:lvl1pPr>
          </a:lstStyle>
          <a:p>
            <a:r>
              <a:rPr lang="ja-JP" altLang="en-US" dirty="0"/>
              <a:t>資料タイトル</a:t>
            </a:r>
          </a:p>
        </p:txBody>
      </p:sp>
      <p:sp>
        <p:nvSpPr>
          <p:cNvPr id="7" name="テキスト プレースホルダ 2"/>
          <p:cNvSpPr>
            <a:spLocks noGrp="1"/>
          </p:cNvSpPr>
          <p:nvPr>
            <p:ph type="body" idx="15" hasCustomPrompt="1"/>
          </p:nvPr>
        </p:nvSpPr>
        <p:spPr>
          <a:xfrm>
            <a:off x="1403653" y="5229201"/>
            <a:ext cx="6336704" cy="432048"/>
          </a:xfrm>
        </p:spPr>
        <p:txBody>
          <a:bodyPr anchor="ctr" anchorCtr="1"/>
          <a:lstStyle>
            <a:lvl1pPr marL="0" indent="0">
              <a:buNone/>
              <a:defRPr sz="1600" b="0">
                <a:solidFill>
                  <a:schemeClr val="bg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lvl="0"/>
            <a:r>
              <a:rPr lang="ja-JP" altLang="en-US" dirty="0"/>
              <a:t>講演会・発表会名</a:t>
            </a:r>
          </a:p>
        </p:txBody>
      </p:sp>
      <p:sp>
        <p:nvSpPr>
          <p:cNvPr id="8" name="テキスト プレースホルダ 2"/>
          <p:cNvSpPr>
            <a:spLocks noGrp="1"/>
          </p:cNvSpPr>
          <p:nvPr>
            <p:ph type="body" idx="16" hasCustomPrompt="1"/>
          </p:nvPr>
        </p:nvSpPr>
        <p:spPr>
          <a:xfrm>
            <a:off x="1403653" y="5661249"/>
            <a:ext cx="6336704" cy="432048"/>
          </a:xfrm>
        </p:spPr>
        <p:txBody>
          <a:bodyPr anchor="ctr" anchorCtr="1"/>
          <a:lstStyle>
            <a:lvl1pPr marL="0" indent="0">
              <a:buNone/>
              <a:defRPr sz="1600" b="0">
                <a:solidFill>
                  <a:schemeClr val="bg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lvl="0"/>
            <a:r>
              <a:rPr lang="en-US" altLang="ja-JP" dirty="0"/>
              <a:t>YYYY</a:t>
            </a:r>
            <a:r>
              <a:rPr lang="ja-JP" altLang="en-US" dirty="0"/>
              <a:t>年</a:t>
            </a:r>
            <a:r>
              <a:rPr lang="en-US" altLang="ja-JP" dirty="0"/>
              <a:t>MM</a:t>
            </a:r>
            <a:r>
              <a:rPr lang="ja-JP" altLang="en-US" dirty="0"/>
              <a:t>月</a:t>
            </a:r>
            <a:r>
              <a:rPr lang="en-US" altLang="ja-JP" dirty="0"/>
              <a:t>DD</a:t>
            </a:r>
            <a:r>
              <a:rPr lang="ja-JP" altLang="en-US" dirty="0"/>
              <a:t>日</a:t>
            </a:r>
          </a:p>
        </p:txBody>
      </p:sp>
      <p:sp>
        <p:nvSpPr>
          <p:cNvPr id="26" name="フッター プレースホルダ 4">
            <a:extLst>
              <a:ext uri="{FF2B5EF4-FFF2-40B4-BE49-F238E27FC236}">
                <a16:creationId xmlns:a16="http://schemas.microsoft.com/office/drawing/2014/main" id="{ACE9A4B3-1FB1-473B-B81A-82379D4E3AE8}"/>
              </a:ext>
            </a:extLst>
          </p:cNvPr>
          <p:cNvSpPr>
            <a:spLocks noGrp="1"/>
          </p:cNvSpPr>
          <p:nvPr>
            <p:ph type="ftr" sz="quarter" idx="3"/>
          </p:nvPr>
        </p:nvSpPr>
        <p:spPr>
          <a:xfrm>
            <a:off x="1007609" y="6398426"/>
            <a:ext cx="588167" cy="370543"/>
          </a:xfrm>
          <a:prstGeom prst="rect">
            <a:avLst/>
          </a:prstGeom>
        </p:spPr>
        <p:txBody>
          <a:bodyPr vert="horz" lIns="91440" tIns="45720" rIns="91440" bIns="45720" rtlCol="0" anchor="ctr"/>
          <a:lstStyle>
            <a:lvl1pPr algn="l" fontAlgn="auto">
              <a:spcBef>
                <a:spcPts val="0"/>
              </a:spcBef>
              <a:spcAft>
                <a:spcPts val="0"/>
              </a:spcAft>
              <a:defRPr sz="1200" b="1">
                <a:solidFill>
                  <a:schemeClr val="bg1"/>
                </a:solidFill>
                <a:latin typeface="+mn-lt"/>
                <a:ea typeface="+mn-ea"/>
                <a:cs typeface="Arial" pitchFamily="34" charset="0"/>
              </a:defRPr>
            </a:lvl1pPr>
          </a:lstStyle>
          <a:p>
            <a:pPr>
              <a:defRPr/>
            </a:pPr>
            <a:r>
              <a:rPr lang="en-US" altLang="ja-JP" dirty="0"/>
              <a:t>2021</a:t>
            </a:r>
            <a:endParaRPr lang="ja-JP" altLang="en-US" dirty="0"/>
          </a:p>
        </p:txBody>
      </p:sp>
      <p:sp>
        <p:nvSpPr>
          <p:cNvPr id="33" name="サブタイトル 2">
            <a:extLst>
              <a:ext uri="{FF2B5EF4-FFF2-40B4-BE49-F238E27FC236}">
                <a16:creationId xmlns:a16="http://schemas.microsoft.com/office/drawing/2014/main" id="{4BF38027-F77D-4A27-9DDF-6F244F339B4F}"/>
              </a:ext>
            </a:extLst>
          </p:cNvPr>
          <p:cNvSpPr>
            <a:spLocks noGrp="1"/>
          </p:cNvSpPr>
          <p:nvPr>
            <p:ph type="subTitle" idx="1" hasCustomPrompt="1"/>
          </p:nvPr>
        </p:nvSpPr>
        <p:spPr>
          <a:xfrm>
            <a:off x="3995937" y="3372265"/>
            <a:ext cx="3776464" cy="719616"/>
          </a:xfrm>
          <a:noFill/>
        </p:spPr>
        <p:txBody>
          <a:bodyPr anchor="ctr"/>
          <a:lstStyle>
            <a:lvl1pPr marL="0" indent="0" algn="l">
              <a:buNone/>
              <a:defRPr sz="2400">
                <a:solidFill>
                  <a:schemeClr val="bg1"/>
                </a:solidFill>
              </a:defRPr>
            </a:lvl1pPr>
            <a:lvl2pPr marL="422028" indent="0" algn="ctr">
              <a:buNone/>
              <a:defRPr>
                <a:solidFill>
                  <a:schemeClr val="tx1">
                    <a:tint val="75000"/>
                  </a:schemeClr>
                </a:solidFill>
              </a:defRPr>
            </a:lvl2pPr>
            <a:lvl3pPr marL="844058" indent="0" algn="ctr">
              <a:buNone/>
              <a:defRPr>
                <a:solidFill>
                  <a:schemeClr val="tx1">
                    <a:tint val="75000"/>
                  </a:schemeClr>
                </a:solidFill>
              </a:defRPr>
            </a:lvl3pPr>
            <a:lvl4pPr marL="1266086" indent="0" algn="ctr">
              <a:buNone/>
              <a:defRPr>
                <a:solidFill>
                  <a:schemeClr val="tx1">
                    <a:tint val="75000"/>
                  </a:schemeClr>
                </a:solidFill>
              </a:defRPr>
            </a:lvl4pPr>
            <a:lvl5pPr marL="1688112" indent="0" algn="ctr">
              <a:buNone/>
              <a:defRPr>
                <a:solidFill>
                  <a:schemeClr val="tx1">
                    <a:tint val="75000"/>
                  </a:schemeClr>
                </a:solidFill>
              </a:defRPr>
            </a:lvl5pPr>
            <a:lvl6pPr marL="2110142" indent="0" algn="ctr">
              <a:buNone/>
              <a:defRPr>
                <a:solidFill>
                  <a:schemeClr val="tx1">
                    <a:tint val="75000"/>
                  </a:schemeClr>
                </a:solidFill>
              </a:defRPr>
            </a:lvl6pPr>
            <a:lvl7pPr marL="2532170" indent="0" algn="ctr">
              <a:buNone/>
              <a:defRPr>
                <a:solidFill>
                  <a:schemeClr val="tx1">
                    <a:tint val="75000"/>
                  </a:schemeClr>
                </a:solidFill>
              </a:defRPr>
            </a:lvl7pPr>
            <a:lvl8pPr marL="2954199" indent="0" algn="ctr">
              <a:buNone/>
              <a:defRPr>
                <a:solidFill>
                  <a:schemeClr val="tx1">
                    <a:tint val="75000"/>
                  </a:schemeClr>
                </a:solidFill>
              </a:defRPr>
            </a:lvl8pPr>
            <a:lvl9pPr marL="3376226" indent="0" algn="ctr">
              <a:buNone/>
              <a:defRPr>
                <a:solidFill>
                  <a:schemeClr val="tx1">
                    <a:tint val="75000"/>
                  </a:schemeClr>
                </a:solidFill>
              </a:defRPr>
            </a:lvl9pPr>
          </a:lstStyle>
          <a:p>
            <a:r>
              <a:rPr lang="en-US" altLang="ja-JP" dirty="0"/>
              <a:t>××××</a:t>
            </a:r>
            <a:r>
              <a:rPr lang="ja-JP" altLang="en-US" dirty="0"/>
              <a:t>研究所</a:t>
            </a:r>
          </a:p>
        </p:txBody>
      </p:sp>
      <p:sp>
        <p:nvSpPr>
          <p:cNvPr id="34" name="テキスト プレースホルダ 2">
            <a:extLst>
              <a:ext uri="{FF2B5EF4-FFF2-40B4-BE49-F238E27FC236}">
                <a16:creationId xmlns:a16="http://schemas.microsoft.com/office/drawing/2014/main" id="{36BC29AE-D5E7-4840-B60E-500D6850EE8A}"/>
              </a:ext>
            </a:extLst>
          </p:cNvPr>
          <p:cNvSpPr>
            <a:spLocks noGrp="1"/>
          </p:cNvSpPr>
          <p:nvPr>
            <p:ph type="body" idx="13" hasCustomPrompt="1"/>
          </p:nvPr>
        </p:nvSpPr>
        <p:spPr>
          <a:xfrm>
            <a:off x="1403650" y="4149081"/>
            <a:ext cx="2592290" cy="639762"/>
          </a:xfrm>
        </p:spPr>
        <p:txBody>
          <a:bodyPr anchor="ctr" anchorCtr="1"/>
          <a:lstStyle>
            <a:lvl1pPr marL="0" indent="0" algn="r">
              <a:buNone/>
              <a:defRPr sz="2400" b="0">
                <a:solidFill>
                  <a:schemeClr val="bg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lvl="0"/>
            <a:r>
              <a:rPr lang="en-US" altLang="ja-JP" dirty="0"/>
              <a:t>××</a:t>
            </a:r>
            <a:r>
              <a:rPr lang="ja-JP" altLang="en-US" dirty="0"/>
              <a:t>研究員</a:t>
            </a:r>
          </a:p>
        </p:txBody>
      </p:sp>
      <p:sp>
        <p:nvSpPr>
          <p:cNvPr id="35" name="テキスト プレースホルダ 2">
            <a:extLst>
              <a:ext uri="{FF2B5EF4-FFF2-40B4-BE49-F238E27FC236}">
                <a16:creationId xmlns:a16="http://schemas.microsoft.com/office/drawing/2014/main" id="{52C1A5CB-877E-45FE-93BB-0A52EE7F536E}"/>
              </a:ext>
            </a:extLst>
          </p:cNvPr>
          <p:cNvSpPr>
            <a:spLocks noGrp="1"/>
          </p:cNvSpPr>
          <p:nvPr>
            <p:ph type="body" idx="14" hasCustomPrompt="1"/>
          </p:nvPr>
        </p:nvSpPr>
        <p:spPr>
          <a:xfrm>
            <a:off x="4001706" y="4149081"/>
            <a:ext cx="3738648" cy="639762"/>
          </a:xfrm>
        </p:spPr>
        <p:txBody>
          <a:bodyPr anchor="ctr" anchorCtr="0"/>
          <a:lstStyle>
            <a:lvl1pPr marL="0" indent="0">
              <a:buNone/>
              <a:defRPr sz="2400" b="0">
                <a:solidFill>
                  <a:schemeClr val="bg1"/>
                </a:solidFill>
              </a:defRPr>
            </a:lvl1pPr>
            <a:lvl2pPr marL="422028" indent="0">
              <a:buNone/>
              <a:defRPr sz="1847" b="1"/>
            </a:lvl2pPr>
            <a:lvl3pPr marL="844058" indent="0">
              <a:buNone/>
              <a:defRPr sz="1661" b="1"/>
            </a:lvl3pPr>
            <a:lvl4pPr marL="1266086" indent="0">
              <a:buNone/>
              <a:defRPr sz="1477" b="1"/>
            </a:lvl4pPr>
            <a:lvl5pPr marL="1688112" indent="0">
              <a:buNone/>
              <a:defRPr sz="1477" b="1"/>
            </a:lvl5pPr>
            <a:lvl6pPr marL="2110142" indent="0">
              <a:buNone/>
              <a:defRPr sz="1477" b="1"/>
            </a:lvl6pPr>
            <a:lvl7pPr marL="2532170" indent="0">
              <a:buNone/>
              <a:defRPr sz="1477" b="1"/>
            </a:lvl7pPr>
            <a:lvl8pPr marL="2954199" indent="0">
              <a:buNone/>
              <a:defRPr sz="1477" b="1"/>
            </a:lvl8pPr>
            <a:lvl9pPr marL="3376226" indent="0">
              <a:buNone/>
              <a:defRPr sz="1477" b="1"/>
            </a:lvl9pPr>
          </a:lstStyle>
          <a:p>
            <a:pPr lvl="0"/>
            <a:r>
              <a:rPr lang="ja-JP" altLang="en-US" dirty="0"/>
              <a:t>電中研　太郎</a:t>
            </a:r>
          </a:p>
        </p:txBody>
      </p:sp>
      <p:sp>
        <p:nvSpPr>
          <p:cNvPr id="36" name="正方形/長方形 35">
            <a:extLst>
              <a:ext uri="{FF2B5EF4-FFF2-40B4-BE49-F238E27FC236}">
                <a16:creationId xmlns:a16="http://schemas.microsoft.com/office/drawing/2014/main" id="{DA331131-16AA-45DB-91CF-E1DBFA851D9B}"/>
              </a:ext>
            </a:extLst>
          </p:cNvPr>
          <p:cNvSpPr/>
          <p:nvPr userDrawn="1"/>
        </p:nvSpPr>
        <p:spPr>
          <a:xfrm>
            <a:off x="1403650" y="3356993"/>
            <a:ext cx="2592289" cy="7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2400" b="1" dirty="0">
                <a:solidFill>
                  <a:schemeClr val="bg1"/>
                </a:solidFill>
              </a:rPr>
              <a:t>電力中央研究所</a:t>
            </a:r>
          </a:p>
        </p:txBody>
      </p:sp>
    </p:spTree>
    <p:extLst>
      <p:ext uri="{BB962C8B-B14F-4D97-AF65-F5344CB8AC3E}">
        <p14:creationId xmlns:p14="http://schemas.microsoft.com/office/powerpoint/2010/main" val="4095274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61133E61-B4FF-4268-AE06-99469B145BC5}"/>
              </a:ext>
            </a:extLst>
          </p:cNvPr>
          <p:cNvGraphicFramePr>
            <a:graphicFrameLocks noChangeAspect="1"/>
          </p:cNvGraphicFramePr>
          <p:nvPr userDrawn="1">
            <p:custDataLst>
              <p:tags r:id="rId1"/>
            </p:custDataLst>
            <p:extLst>
              <p:ext uri="{D42A27DB-BD31-4B8C-83A1-F6EECF244321}">
                <p14:modId xmlns:p14="http://schemas.microsoft.com/office/powerpoint/2010/main" val="64384463"/>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61133E61-B4FF-4268-AE06-99469B145BC5}"/>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960A0A-092B-4319-8185-3AAFB8C1F062}"/>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3692"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722313" y="4406908"/>
            <a:ext cx="7772400" cy="1362075"/>
          </a:xfrm>
        </p:spPr>
        <p:txBody>
          <a:bodyPr anchor="t"/>
          <a:lstStyle>
            <a:lvl1pPr algn="l">
              <a:defRPr sz="3600" b="1" cap="all"/>
            </a:lvl1pPr>
          </a:lstStyle>
          <a:p>
            <a:r>
              <a:rPr lang="ja-JP" altLang="en-US" dirty="0"/>
              <a:t>章タイトル</a:t>
            </a:r>
          </a:p>
        </p:txBody>
      </p:sp>
      <p:sp>
        <p:nvSpPr>
          <p:cNvPr id="3" name="テキスト プレースホルダ 2"/>
          <p:cNvSpPr>
            <a:spLocks noGrp="1"/>
          </p:cNvSpPr>
          <p:nvPr>
            <p:ph type="body" idx="1" hasCustomPrompt="1"/>
          </p:nvPr>
        </p:nvSpPr>
        <p:spPr>
          <a:xfrm>
            <a:off x="722313" y="2906713"/>
            <a:ext cx="7772400" cy="1500187"/>
          </a:xfrm>
        </p:spPr>
        <p:txBody>
          <a:bodyPr anchor="b"/>
          <a:lstStyle>
            <a:lvl1pPr marL="0" indent="0">
              <a:buNone/>
              <a:defRPr sz="2000">
                <a:solidFill>
                  <a:schemeClr val="tx1"/>
                </a:solidFill>
              </a:defRPr>
            </a:lvl1pPr>
            <a:lvl2pPr marL="422028" indent="0">
              <a:buNone/>
              <a:defRPr sz="1661">
                <a:solidFill>
                  <a:schemeClr val="tx1">
                    <a:tint val="75000"/>
                  </a:schemeClr>
                </a:solidFill>
              </a:defRPr>
            </a:lvl2pPr>
            <a:lvl3pPr marL="844058" indent="0">
              <a:buNone/>
              <a:defRPr sz="1477">
                <a:solidFill>
                  <a:schemeClr val="tx1">
                    <a:tint val="75000"/>
                  </a:schemeClr>
                </a:solidFill>
              </a:defRPr>
            </a:lvl3pPr>
            <a:lvl4pPr marL="1266086" indent="0">
              <a:buNone/>
              <a:defRPr sz="1291">
                <a:solidFill>
                  <a:schemeClr val="tx1">
                    <a:tint val="75000"/>
                  </a:schemeClr>
                </a:solidFill>
              </a:defRPr>
            </a:lvl4pPr>
            <a:lvl5pPr marL="1688112" indent="0">
              <a:buNone/>
              <a:defRPr sz="1291">
                <a:solidFill>
                  <a:schemeClr val="tx1">
                    <a:tint val="75000"/>
                  </a:schemeClr>
                </a:solidFill>
              </a:defRPr>
            </a:lvl5pPr>
            <a:lvl6pPr marL="2110142" indent="0">
              <a:buNone/>
              <a:defRPr sz="1291">
                <a:solidFill>
                  <a:schemeClr val="tx1">
                    <a:tint val="75000"/>
                  </a:schemeClr>
                </a:solidFill>
              </a:defRPr>
            </a:lvl6pPr>
            <a:lvl7pPr marL="2532170" indent="0">
              <a:buNone/>
              <a:defRPr sz="1291">
                <a:solidFill>
                  <a:schemeClr val="tx1">
                    <a:tint val="75000"/>
                  </a:schemeClr>
                </a:solidFill>
              </a:defRPr>
            </a:lvl7pPr>
            <a:lvl8pPr marL="2954199" indent="0">
              <a:buNone/>
              <a:defRPr sz="1291">
                <a:solidFill>
                  <a:schemeClr val="tx1">
                    <a:tint val="75000"/>
                  </a:schemeClr>
                </a:solidFill>
              </a:defRPr>
            </a:lvl8pPr>
            <a:lvl9pPr marL="3376226" indent="0">
              <a:buNone/>
              <a:defRPr sz="1291">
                <a:solidFill>
                  <a:schemeClr val="tx1">
                    <a:tint val="75000"/>
                  </a:schemeClr>
                </a:solidFill>
              </a:defRPr>
            </a:lvl9pPr>
          </a:lstStyle>
          <a:p>
            <a:pPr lvl="0"/>
            <a:r>
              <a:rPr lang="ja-JP" altLang="en-US" dirty="0"/>
              <a:t>章の説明</a:t>
            </a:r>
          </a:p>
        </p:txBody>
      </p:sp>
      <p:sp>
        <p:nvSpPr>
          <p:cNvPr id="7" name="スライド番号プレースホルダ 13">
            <a:extLst>
              <a:ext uri="{FF2B5EF4-FFF2-40B4-BE49-F238E27FC236}">
                <a16:creationId xmlns:a16="http://schemas.microsoft.com/office/drawing/2014/main" id="{0249FF53-1257-4BAD-BE1B-76F32B91DB16}"/>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8" name="フッター プレースホルダ 4">
            <a:extLst>
              <a:ext uri="{FF2B5EF4-FFF2-40B4-BE49-F238E27FC236}">
                <a16:creationId xmlns:a16="http://schemas.microsoft.com/office/drawing/2014/main" id="{3878CB30-2171-4D23-9A51-F1C66D75376E}"/>
              </a:ext>
            </a:extLst>
          </p:cNvPr>
          <p:cNvSpPr txBox="1">
            <a:spLocks/>
          </p:cNvSpPr>
          <p:nvPr userDrawn="1"/>
        </p:nvSpPr>
        <p:spPr>
          <a:xfrm>
            <a:off x="1014720" y="6560253"/>
            <a:ext cx="763200" cy="209162"/>
          </a:xfrm>
          <a:prstGeom prst="rect">
            <a:avLst/>
          </a:prstGeom>
        </p:spPr>
        <p:txBody>
          <a:bodyPr vert="horz" lIns="112543" tIns="56271" rIns="112543" bIns="56271" rtlCol="0" anchor="ctr"/>
          <a:lstStyle>
            <a:defPPr>
              <a:defRPr lang="ja-JP"/>
            </a:defPPr>
            <a:lvl1pPr algn="l" rtl="0" fontAlgn="auto">
              <a:spcBef>
                <a:spcPts val="0"/>
              </a:spcBef>
              <a:spcAft>
                <a:spcPts val="0"/>
              </a:spcAft>
              <a:defRPr kumimoji="1" sz="1100" b="1" kern="1200">
                <a:solidFill>
                  <a:schemeClr val="bg1"/>
                </a:solidFill>
                <a:latin typeface="+mn-lt"/>
                <a:ea typeface="+mn-ea"/>
                <a:cs typeface="Arial" pitchFamily="34" charset="0"/>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a:defRPr/>
            </a:pPr>
            <a:r>
              <a:rPr lang="en-US" altLang="ja-JP" sz="1200" dirty="0"/>
              <a:t>2021</a:t>
            </a:r>
            <a:endParaRPr lang="ja-JP" altLang="en-US" sz="1200" dirty="0"/>
          </a:p>
        </p:txBody>
      </p:sp>
    </p:spTree>
    <p:extLst>
      <p:ext uri="{BB962C8B-B14F-4D97-AF65-F5344CB8AC3E}">
        <p14:creationId xmlns:p14="http://schemas.microsoft.com/office/powerpoint/2010/main" val="3485718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メッセージ＋本文">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1557833983"/>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374496" y="402472"/>
            <a:ext cx="8395015" cy="779116"/>
          </a:xfrm>
          <a:solidFill>
            <a:srgbClr val="E6F1FE"/>
          </a:solidFill>
        </p:spPr>
        <p:txBody>
          <a:bodyPr vert="horz" anchor="ctr"/>
          <a:lstStyle>
            <a:lvl1pPr algn="l">
              <a:defRPr sz="2200" b="1"/>
            </a:lvl1pPr>
          </a:lstStyle>
          <a:p>
            <a:r>
              <a:rPr lang="ja-JP" altLang="en-US" dirty="0"/>
              <a:t>メッセージライン</a:t>
            </a:r>
            <a:r>
              <a:rPr lang="en-US" altLang="ja-JP" dirty="0"/>
              <a:t>(1~2</a:t>
            </a:r>
            <a:r>
              <a:rPr lang="ja-JP" altLang="en-US" dirty="0"/>
              <a:t>行で記述</a:t>
            </a:r>
            <a:r>
              <a:rPr lang="en-US" altLang="ja-JP" dirty="0"/>
              <a:t>) </a:t>
            </a:r>
            <a:endParaRPr lang="ja-JP" altLang="en-US" dirty="0"/>
          </a:p>
        </p:txBody>
      </p:sp>
      <p:sp>
        <p:nvSpPr>
          <p:cNvPr id="3" name="コンテンツ プレースホルダ 2"/>
          <p:cNvSpPr>
            <a:spLocks noGrp="1"/>
          </p:cNvSpPr>
          <p:nvPr>
            <p:ph idx="1" hasCustomPrompt="1"/>
          </p:nvPr>
        </p:nvSpPr>
        <p:spPr>
          <a:xfrm>
            <a:off x="374496" y="1341946"/>
            <a:ext cx="8395015" cy="4591536"/>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a:lvl1pPr>
            <a:lvl2pPr>
              <a:defRPr lang="ja-JP" altLang="en-US" dirty="0"/>
            </a:lvl2pPr>
            <a:lvl3pPr>
              <a:defRPr lang="ja-JP" altLang="en-US" dirty="0"/>
            </a:lvl3pPr>
            <a:lvl4pPr>
              <a:defRPr lang="ja-JP" altLang="en-US" dirty="0"/>
            </a:lvl4pPr>
            <a:lvl5pPr>
              <a:defRPr lang="ja-JP" altLang="en-US" dirty="0"/>
            </a:lvl5pPr>
          </a:lstStyle>
          <a:p>
            <a:pPr lvl="0">
              <a:buClrTx/>
            </a:pPr>
            <a:r>
              <a:rPr lang="ja-JP" altLang="en-US" dirty="0"/>
              <a:t>テキスト</a:t>
            </a:r>
          </a:p>
          <a:p>
            <a:pPr lvl="1">
              <a:buClrTx/>
            </a:pPr>
            <a:r>
              <a:rPr lang="ja-JP" altLang="en-US" dirty="0"/>
              <a:t>第 </a:t>
            </a:r>
            <a:r>
              <a:rPr lang="en-US" altLang="ja-JP" dirty="0"/>
              <a:t>2 </a:t>
            </a:r>
            <a:r>
              <a:rPr lang="ja-JP" altLang="en-US" dirty="0"/>
              <a:t>レベル</a:t>
            </a:r>
          </a:p>
          <a:p>
            <a:pPr lvl="2">
              <a:buClrTx/>
            </a:pPr>
            <a:r>
              <a:rPr lang="ja-JP" altLang="en-US" dirty="0"/>
              <a:t>第 </a:t>
            </a:r>
            <a:r>
              <a:rPr lang="en-US" altLang="ja-JP" dirty="0"/>
              <a:t>3 </a:t>
            </a:r>
            <a:r>
              <a:rPr lang="ja-JP" altLang="en-US" dirty="0"/>
              <a:t>レベル</a:t>
            </a:r>
          </a:p>
          <a:p>
            <a:pPr lvl="3">
              <a:buClrTx/>
            </a:pPr>
            <a:r>
              <a:rPr lang="ja-JP" altLang="en-US" dirty="0"/>
              <a:t>第 </a:t>
            </a:r>
            <a:r>
              <a:rPr lang="en-US" altLang="ja-JP" dirty="0"/>
              <a:t>4 </a:t>
            </a:r>
            <a:r>
              <a:rPr lang="ja-JP" altLang="en-US" dirty="0"/>
              <a:t>レベル</a:t>
            </a:r>
          </a:p>
          <a:p>
            <a:pPr lvl="4">
              <a:buClrTx/>
            </a:pPr>
            <a:r>
              <a:rPr lang="ja-JP" altLang="en-US" dirty="0"/>
              <a:t>第 </a:t>
            </a:r>
            <a:r>
              <a:rPr lang="en-US" altLang="ja-JP" dirty="0"/>
              <a:t>5 </a:t>
            </a:r>
            <a:r>
              <a:rPr lang="ja-JP" altLang="en-US" dirty="0"/>
              <a:t>レベル</a:t>
            </a:r>
          </a:p>
        </p:txBody>
      </p:sp>
      <p:sp>
        <p:nvSpPr>
          <p:cNvPr id="26" name="テキスト プレースホルダー 21">
            <a:extLst>
              <a:ext uri="{FF2B5EF4-FFF2-40B4-BE49-F238E27FC236}">
                <a16:creationId xmlns:a16="http://schemas.microsoft.com/office/drawing/2014/main" id="{3B4572FA-8D65-4518-98CB-63507ACC89A4}"/>
              </a:ext>
            </a:extLst>
          </p:cNvPr>
          <p:cNvSpPr>
            <a:spLocks noGrp="1"/>
          </p:cNvSpPr>
          <p:nvPr>
            <p:ph type="body" sz="quarter" idx="15" hasCustomPrompt="1"/>
          </p:nvPr>
        </p:nvSpPr>
        <p:spPr>
          <a:xfrm>
            <a:off x="374496" y="6028469"/>
            <a:ext cx="8395015" cy="234148"/>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12" name="テキスト プレースホルダー 11">
            <a:extLst>
              <a:ext uri="{FF2B5EF4-FFF2-40B4-BE49-F238E27FC236}">
                <a16:creationId xmlns:a16="http://schemas.microsoft.com/office/drawing/2014/main" id="{5AD276B5-DC73-4146-8703-95225DCEE3E3}"/>
              </a:ext>
            </a:extLst>
          </p:cNvPr>
          <p:cNvSpPr>
            <a:spLocks noGrp="1"/>
          </p:cNvSpPr>
          <p:nvPr>
            <p:ph type="body" sz="quarter" idx="13" hasCustomPrompt="1"/>
          </p:nvPr>
        </p:nvSpPr>
        <p:spPr>
          <a:xfrm>
            <a:off x="374493" y="72009"/>
            <a:ext cx="2253292" cy="332656"/>
          </a:xfrm>
        </p:spPr>
        <p:txBody>
          <a:bodyPr/>
          <a:lstStyle>
            <a:lvl1pPr marL="0" indent="0">
              <a:buNone/>
              <a:defRPr sz="1400"/>
            </a:lvl1pPr>
          </a:lstStyle>
          <a:p>
            <a:pPr lvl="0"/>
            <a:r>
              <a:rPr kumimoji="1" lang="ja-JP" altLang="en-US" dirty="0"/>
              <a:t>章見出し</a:t>
            </a:r>
          </a:p>
        </p:txBody>
      </p:sp>
      <p:sp>
        <p:nvSpPr>
          <p:cNvPr id="13" name="スライド番号プレースホルダ 13">
            <a:extLst>
              <a:ext uri="{FF2B5EF4-FFF2-40B4-BE49-F238E27FC236}">
                <a16:creationId xmlns:a16="http://schemas.microsoft.com/office/drawing/2014/main" id="{D2A5324B-6FEE-4DF2-A914-C7DC80FBD05B}"/>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14" name="テキスト プレースホルダー 24">
            <a:extLst>
              <a:ext uri="{FF2B5EF4-FFF2-40B4-BE49-F238E27FC236}">
                <a16:creationId xmlns:a16="http://schemas.microsoft.com/office/drawing/2014/main" id="{23EEE3C7-857D-416E-9B2B-D8A246869B3E}"/>
              </a:ext>
            </a:extLst>
          </p:cNvPr>
          <p:cNvSpPr>
            <a:spLocks noGrp="1"/>
          </p:cNvSpPr>
          <p:nvPr>
            <p:ph type="body" sz="quarter" idx="18" hasCustomPrompt="1"/>
          </p:nvPr>
        </p:nvSpPr>
        <p:spPr>
          <a:xfrm>
            <a:off x="374496" y="6274066"/>
            <a:ext cx="8395015" cy="237493"/>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Tree>
    <p:extLst>
      <p:ext uri="{BB962C8B-B14F-4D97-AF65-F5344CB8AC3E}">
        <p14:creationId xmlns:p14="http://schemas.microsoft.com/office/powerpoint/2010/main" val="3500032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ポイント３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2952198671"/>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8" name="テキスト プレースホルダー 11">
            <a:extLst>
              <a:ext uri="{FF2B5EF4-FFF2-40B4-BE49-F238E27FC236}">
                <a16:creationId xmlns:a16="http://schemas.microsoft.com/office/drawing/2014/main" id="{4C4547D3-9F7B-452D-BFC8-AF003AD5EBD0}"/>
              </a:ext>
            </a:extLst>
          </p:cNvPr>
          <p:cNvSpPr>
            <a:spLocks noGrp="1"/>
          </p:cNvSpPr>
          <p:nvPr>
            <p:ph type="body" sz="quarter" idx="13" hasCustomPrompt="1"/>
          </p:nvPr>
        </p:nvSpPr>
        <p:spPr>
          <a:xfrm>
            <a:off x="374493" y="72009"/>
            <a:ext cx="2253292" cy="332656"/>
          </a:xfrm>
        </p:spPr>
        <p:txBody>
          <a:bodyPr/>
          <a:lstStyle>
            <a:lvl1pPr marL="0" indent="0">
              <a:buNone/>
              <a:defRPr sz="1400">
                <a:solidFill>
                  <a:schemeClr val="tx1"/>
                </a:solidFill>
              </a:defRPr>
            </a:lvl1pPr>
          </a:lstStyle>
          <a:p>
            <a:pPr lvl="0"/>
            <a:r>
              <a:rPr kumimoji="1" lang="ja-JP" altLang="en-US" dirty="0"/>
              <a:t>章見出し</a:t>
            </a:r>
          </a:p>
        </p:txBody>
      </p:sp>
      <p:sp>
        <p:nvSpPr>
          <p:cNvPr id="26" name="テキスト プレースホルダー 21">
            <a:extLst>
              <a:ext uri="{FF2B5EF4-FFF2-40B4-BE49-F238E27FC236}">
                <a16:creationId xmlns:a16="http://schemas.microsoft.com/office/drawing/2014/main" id="{CDA2C7BF-2319-46C0-A514-5C1852C3895A}"/>
              </a:ext>
            </a:extLst>
          </p:cNvPr>
          <p:cNvSpPr>
            <a:spLocks noGrp="1"/>
          </p:cNvSpPr>
          <p:nvPr>
            <p:ph type="body" sz="quarter" idx="17" hasCustomPrompt="1"/>
          </p:nvPr>
        </p:nvSpPr>
        <p:spPr>
          <a:xfrm>
            <a:off x="374496" y="6028469"/>
            <a:ext cx="8395015" cy="234148"/>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27" name="テキスト プレースホルダー 24">
            <a:extLst>
              <a:ext uri="{FF2B5EF4-FFF2-40B4-BE49-F238E27FC236}">
                <a16:creationId xmlns:a16="http://schemas.microsoft.com/office/drawing/2014/main" id="{3C466E36-B858-43C7-A29A-46FD3EC046C9}"/>
              </a:ext>
            </a:extLst>
          </p:cNvPr>
          <p:cNvSpPr>
            <a:spLocks noGrp="1"/>
          </p:cNvSpPr>
          <p:nvPr>
            <p:ph type="body" sz="quarter" idx="19" hasCustomPrompt="1"/>
          </p:nvPr>
        </p:nvSpPr>
        <p:spPr>
          <a:xfrm>
            <a:off x="374496" y="6274066"/>
            <a:ext cx="8395015" cy="237493"/>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
        <p:nvSpPr>
          <p:cNvPr id="32" name="スライド番号プレースホルダ 13">
            <a:extLst>
              <a:ext uri="{FF2B5EF4-FFF2-40B4-BE49-F238E27FC236}">
                <a16:creationId xmlns:a16="http://schemas.microsoft.com/office/drawing/2014/main" id="{7B874DDE-B9E0-420D-8E16-E322FD304BF3}"/>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20" name="テキスト プレースホルダー 6">
            <a:extLst>
              <a:ext uri="{FF2B5EF4-FFF2-40B4-BE49-F238E27FC236}">
                <a16:creationId xmlns:a16="http://schemas.microsoft.com/office/drawing/2014/main" id="{59D65977-C0B9-4D7A-8916-EA7046BD323C}"/>
              </a:ext>
            </a:extLst>
          </p:cNvPr>
          <p:cNvSpPr>
            <a:spLocks noGrp="1"/>
          </p:cNvSpPr>
          <p:nvPr>
            <p:ph type="body" sz="quarter" idx="21" hasCustomPrompt="1"/>
          </p:nvPr>
        </p:nvSpPr>
        <p:spPr>
          <a:xfrm>
            <a:off x="374492" y="1494054"/>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ja-JP" altLang="en-US" dirty="0"/>
              <a:t>ポイント</a:t>
            </a:r>
            <a:r>
              <a:rPr kumimoji="1" lang="en-US" altLang="ja-JP" dirty="0"/>
              <a:t>1</a:t>
            </a:r>
            <a:endParaRPr kumimoji="1" lang="ja-JP" altLang="en-US" dirty="0"/>
          </a:p>
        </p:txBody>
      </p:sp>
      <p:sp>
        <p:nvSpPr>
          <p:cNvPr id="22" name="テキスト プレースホルダー 6">
            <a:extLst>
              <a:ext uri="{FF2B5EF4-FFF2-40B4-BE49-F238E27FC236}">
                <a16:creationId xmlns:a16="http://schemas.microsoft.com/office/drawing/2014/main" id="{BFACEE35-5230-48CE-8C3C-75D8CE01755E}"/>
              </a:ext>
            </a:extLst>
          </p:cNvPr>
          <p:cNvSpPr>
            <a:spLocks noGrp="1"/>
          </p:cNvSpPr>
          <p:nvPr>
            <p:ph type="body" sz="quarter" idx="23" hasCustomPrompt="1"/>
          </p:nvPr>
        </p:nvSpPr>
        <p:spPr>
          <a:xfrm>
            <a:off x="374492" y="3007265"/>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ja-JP" altLang="en-US" dirty="0"/>
              <a:t>ポイント</a:t>
            </a:r>
            <a:r>
              <a:rPr kumimoji="1" lang="en-US" altLang="ja-JP" dirty="0"/>
              <a:t>2</a:t>
            </a:r>
            <a:endParaRPr kumimoji="1" lang="ja-JP" altLang="en-US" dirty="0"/>
          </a:p>
        </p:txBody>
      </p:sp>
      <p:sp>
        <p:nvSpPr>
          <p:cNvPr id="24" name="テキスト プレースホルダー 6">
            <a:extLst>
              <a:ext uri="{FF2B5EF4-FFF2-40B4-BE49-F238E27FC236}">
                <a16:creationId xmlns:a16="http://schemas.microsoft.com/office/drawing/2014/main" id="{36420DD4-DDCF-49FA-B714-1C5512CBD14E}"/>
              </a:ext>
            </a:extLst>
          </p:cNvPr>
          <p:cNvSpPr>
            <a:spLocks noGrp="1"/>
          </p:cNvSpPr>
          <p:nvPr>
            <p:ph type="body" sz="quarter" idx="25" hasCustomPrompt="1"/>
          </p:nvPr>
        </p:nvSpPr>
        <p:spPr>
          <a:xfrm>
            <a:off x="374492" y="4520477"/>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ja-JP" altLang="en-US" dirty="0"/>
              <a:t>ポイント</a:t>
            </a:r>
            <a:r>
              <a:rPr kumimoji="1" lang="en-US" altLang="ja-JP" dirty="0"/>
              <a:t>3</a:t>
            </a:r>
            <a:endParaRPr kumimoji="1" lang="ja-JP" altLang="en-US" dirty="0"/>
          </a:p>
        </p:txBody>
      </p:sp>
      <p:sp>
        <p:nvSpPr>
          <p:cNvPr id="15" name="タイトル 1">
            <a:extLst>
              <a:ext uri="{FF2B5EF4-FFF2-40B4-BE49-F238E27FC236}">
                <a16:creationId xmlns:a16="http://schemas.microsoft.com/office/drawing/2014/main" id="{F998226D-E601-4A11-B523-36B8265AE9F1}"/>
              </a:ext>
            </a:extLst>
          </p:cNvPr>
          <p:cNvSpPr>
            <a:spLocks noGrp="1"/>
          </p:cNvSpPr>
          <p:nvPr>
            <p:ph type="title" hasCustomPrompt="1"/>
          </p:nvPr>
        </p:nvSpPr>
        <p:spPr>
          <a:xfrm>
            <a:off x="374496" y="402472"/>
            <a:ext cx="8395015" cy="779116"/>
          </a:xfrm>
          <a:solidFill>
            <a:srgbClr val="E6F1FE"/>
          </a:solidFill>
        </p:spPr>
        <p:txBody>
          <a:bodyPr vert="horz" anchor="ctr"/>
          <a:lstStyle>
            <a:lvl1pPr algn="l">
              <a:defRPr sz="2200" b="1"/>
            </a:lvl1pPr>
          </a:lstStyle>
          <a:p>
            <a:r>
              <a:rPr lang="ja-JP" altLang="en-US" dirty="0"/>
              <a:t>メッセージライン</a:t>
            </a:r>
            <a:r>
              <a:rPr lang="en-US" altLang="ja-JP" dirty="0"/>
              <a:t>(1~2</a:t>
            </a:r>
            <a:r>
              <a:rPr lang="ja-JP" altLang="en-US" dirty="0"/>
              <a:t>行で記述</a:t>
            </a:r>
            <a:r>
              <a:rPr lang="en-US" altLang="ja-JP" dirty="0"/>
              <a:t>) </a:t>
            </a:r>
            <a:endParaRPr lang="ja-JP" altLang="en-US" dirty="0"/>
          </a:p>
        </p:txBody>
      </p:sp>
      <p:sp>
        <p:nvSpPr>
          <p:cNvPr id="18" name="テキスト プレースホルダー 6">
            <a:extLst>
              <a:ext uri="{FF2B5EF4-FFF2-40B4-BE49-F238E27FC236}">
                <a16:creationId xmlns:a16="http://schemas.microsoft.com/office/drawing/2014/main" id="{F219DBA5-4FF9-43C9-A7E5-0A9B36291843}"/>
              </a:ext>
            </a:extLst>
          </p:cNvPr>
          <p:cNvSpPr>
            <a:spLocks noGrp="1"/>
          </p:cNvSpPr>
          <p:nvPr>
            <p:ph type="body" sz="quarter" idx="20"/>
          </p:nvPr>
        </p:nvSpPr>
        <p:spPr>
          <a:xfrm>
            <a:off x="1763689" y="1494054"/>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25" name="テキスト プレースホルダー 6">
            <a:extLst>
              <a:ext uri="{FF2B5EF4-FFF2-40B4-BE49-F238E27FC236}">
                <a16:creationId xmlns:a16="http://schemas.microsoft.com/office/drawing/2014/main" id="{C698507A-70C8-4139-9251-1CEC7E9CCA2F}"/>
              </a:ext>
            </a:extLst>
          </p:cNvPr>
          <p:cNvSpPr>
            <a:spLocks noGrp="1"/>
          </p:cNvSpPr>
          <p:nvPr>
            <p:ph type="body" sz="quarter" idx="22"/>
          </p:nvPr>
        </p:nvSpPr>
        <p:spPr>
          <a:xfrm>
            <a:off x="1763689" y="2995822"/>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29" name="テキスト プレースホルダー 6">
            <a:extLst>
              <a:ext uri="{FF2B5EF4-FFF2-40B4-BE49-F238E27FC236}">
                <a16:creationId xmlns:a16="http://schemas.microsoft.com/office/drawing/2014/main" id="{0CF5BF46-715C-4661-8E37-B68FBC64872A}"/>
              </a:ext>
            </a:extLst>
          </p:cNvPr>
          <p:cNvSpPr>
            <a:spLocks noGrp="1"/>
          </p:cNvSpPr>
          <p:nvPr>
            <p:ph type="body" sz="quarter" idx="24"/>
          </p:nvPr>
        </p:nvSpPr>
        <p:spPr>
          <a:xfrm>
            <a:off x="1763689" y="4520477"/>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866844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図1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569122435"/>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16" name="テキスト プレースホルダー 15">
            <a:extLst>
              <a:ext uri="{FF2B5EF4-FFF2-40B4-BE49-F238E27FC236}">
                <a16:creationId xmlns:a16="http://schemas.microsoft.com/office/drawing/2014/main" id="{DBB84BA7-E9EC-408F-B46A-3AF7828C65C2}"/>
              </a:ext>
            </a:extLst>
          </p:cNvPr>
          <p:cNvSpPr>
            <a:spLocks noGrp="1"/>
          </p:cNvSpPr>
          <p:nvPr>
            <p:ph type="body" sz="quarter" idx="14"/>
          </p:nvPr>
        </p:nvSpPr>
        <p:spPr>
          <a:xfrm>
            <a:off x="374495" y="1324130"/>
            <a:ext cx="2253291" cy="4697158"/>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a:lvl1pPr>
            <a:lvl2pPr>
              <a:defRPr lang="ja-JP" altLang="en-US" dirty="0"/>
            </a:lvl2pPr>
            <a:lvl3pPr>
              <a:defRPr lang="ja-JP" altLang="en-US" dirty="0"/>
            </a:lvl3pPr>
            <a:lvl4pPr>
              <a:defRPr lang="ja-JP" altLang="en-US" dirty="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17" name="テキスト プレースホルダー 21">
            <a:extLst>
              <a:ext uri="{FF2B5EF4-FFF2-40B4-BE49-F238E27FC236}">
                <a16:creationId xmlns:a16="http://schemas.microsoft.com/office/drawing/2014/main" id="{6A1A729C-3617-444A-92E8-AFFD60FC6696}"/>
              </a:ext>
            </a:extLst>
          </p:cNvPr>
          <p:cNvSpPr>
            <a:spLocks noGrp="1"/>
          </p:cNvSpPr>
          <p:nvPr>
            <p:ph type="body" sz="quarter" idx="18" hasCustomPrompt="1"/>
          </p:nvPr>
        </p:nvSpPr>
        <p:spPr>
          <a:xfrm>
            <a:off x="2771777" y="1324128"/>
            <a:ext cx="5997732" cy="308542"/>
          </a:xfrm>
        </p:spPr>
        <p:txBody>
          <a:bodyPr/>
          <a:lstStyle>
            <a:lvl1pPr marL="0" indent="0">
              <a:buNone/>
              <a:defRPr sz="1600" b="1"/>
            </a:lvl1pPr>
            <a:lvl2pPr>
              <a:defRPr sz="923"/>
            </a:lvl2pPr>
            <a:lvl3pPr>
              <a:defRPr sz="923"/>
            </a:lvl3pPr>
            <a:lvl4pPr>
              <a:defRPr sz="923"/>
            </a:lvl4pPr>
            <a:lvl5pPr>
              <a:defRPr sz="923"/>
            </a:lvl5pPr>
          </a:lstStyle>
          <a:p>
            <a:pPr lvl="0"/>
            <a:r>
              <a:rPr kumimoji="1" lang="ja-JP" altLang="en-US" dirty="0"/>
              <a:t>図表タイトル </a:t>
            </a:r>
            <a:r>
              <a:rPr kumimoji="1" lang="en-US" altLang="ja-JP" dirty="0"/>
              <a:t>(</a:t>
            </a:r>
            <a:r>
              <a:rPr kumimoji="1" lang="ja-JP" altLang="en-US" dirty="0"/>
              <a:t>直下に下線を引く</a:t>
            </a:r>
            <a:r>
              <a:rPr kumimoji="1" lang="en-US" altLang="ja-JP" dirty="0"/>
              <a:t>)</a:t>
            </a:r>
            <a:endParaRPr kumimoji="1" lang="ja-JP" altLang="en-US" dirty="0"/>
          </a:p>
        </p:txBody>
      </p:sp>
      <p:sp>
        <p:nvSpPr>
          <p:cNvPr id="19" name="コンテンツ プレースホルダー 18">
            <a:extLst>
              <a:ext uri="{FF2B5EF4-FFF2-40B4-BE49-F238E27FC236}">
                <a16:creationId xmlns:a16="http://schemas.microsoft.com/office/drawing/2014/main" id="{6F7A155E-865F-4A38-BFA7-C7D4CB232D45}"/>
              </a:ext>
            </a:extLst>
          </p:cNvPr>
          <p:cNvSpPr>
            <a:spLocks noGrp="1"/>
          </p:cNvSpPr>
          <p:nvPr>
            <p:ph sz="quarter" idx="20" hasCustomPrompt="1"/>
          </p:nvPr>
        </p:nvSpPr>
        <p:spPr>
          <a:xfrm>
            <a:off x="2771780" y="1775210"/>
            <a:ext cx="5997731" cy="4190708"/>
          </a:xfrm>
        </p:spPr>
        <p:txBody>
          <a:bodyPr/>
          <a:lstStyle>
            <a:lvl1pPr marL="0" indent="0">
              <a:buNone/>
              <a:defRPr/>
            </a:lvl1pPr>
          </a:lstStyle>
          <a:p>
            <a:pPr lvl="0"/>
            <a:r>
              <a:rPr kumimoji="1" lang="ja-JP" altLang="en-US" dirty="0"/>
              <a:t>図表の挿入箇所</a:t>
            </a:r>
          </a:p>
        </p:txBody>
      </p:sp>
      <p:sp>
        <p:nvSpPr>
          <p:cNvPr id="12" name="テキスト プレースホルダー 11">
            <a:extLst>
              <a:ext uri="{FF2B5EF4-FFF2-40B4-BE49-F238E27FC236}">
                <a16:creationId xmlns:a16="http://schemas.microsoft.com/office/drawing/2014/main" id="{676A0F88-5B0C-4051-B488-D4DC7997C455}"/>
              </a:ext>
            </a:extLst>
          </p:cNvPr>
          <p:cNvSpPr>
            <a:spLocks noGrp="1"/>
          </p:cNvSpPr>
          <p:nvPr>
            <p:ph type="body" sz="quarter" idx="13" hasCustomPrompt="1"/>
          </p:nvPr>
        </p:nvSpPr>
        <p:spPr>
          <a:xfrm>
            <a:off x="374493" y="72009"/>
            <a:ext cx="2253292" cy="332656"/>
          </a:xfrm>
        </p:spPr>
        <p:txBody>
          <a:bodyPr/>
          <a:lstStyle>
            <a:lvl1pPr marL="0" indent="0">
              <a:buNone/>
              <a:defRPr sz="1400"/>
            </a:lvl1pPr>
          </a:lstStyle>
          <a:p>
            <a:pPr lvl="0"/>
            <a:r>
              <a:rPr kumimoji="1" lang="ja-JP" altLang="en-US" dirty="0"/>
              <a:t>章見出し</a:t>
            </a:r>
          </a:p>
        </p:txBody>
      </p:sp>
      <p:sp>
        <p:nvSpPr>
          <p:cNvPr id="14" name="スライド番号プレースホルダ 13">
            <a:extLst>
              <a:ext uri="{FF2B5EF4-FFF2-40B4-BE49-F238E27FC236}">
                <a16:creationId xmlns:a16="http://schemas.microsoft.com/office/drawing/2014/main" id="{41E90245-38D7-4084-B8AC-E4E760241B62}"/>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20" name="テキスト プレースホルダー 21">
            <a:extLst>
              <a:ext uri="{FF2B5EF4-FFF2-40B4-BE49-F238E27FC236}">
                <a16:creationId xmlns:a16="http://schemas.microsoft.com/office/drawing/2014/main" id="{455F3A25-FE2C-49D0-ABB6-A5B8A9A49966}"/>
              </a:ext>
            </a:extLst>
          </p:cNvPr>
          <p:cNvSpPr>
            <a:spLocks noGrp="1"/>
          </p:cNvSpPr>
          <p:nvPr>
            <p:ph type="body" sz="quarter" idx="15" hasCustomPrompt="1"/>
          </p:nvPr>
        </p:nvSpPr>
        <p:spPr>
          <a:xfrm>
            <a:off x="374496" y="6028469"/>
            <a:ext cx="8395015" cy="234148"/>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21" name="テキスト プレースホルダー 24">
            <a:extLst>
              <a:ext uri="{FF2B5EF4-FFF2-40B4-BE49-F238E27FC236}">
                <a16:creationId xmlns:a16="http://schemas.microsoft.com/office/drawing/2014/main" id="{B4718A5B-E7CD-4174-BD8B-34EB8D2A1AF7}"/>
              </a:ext>
            </a:extLst>
          </p:cNvPr>
          <p:cNvSpPr>
            <a:spLocks noGrp="1"/>
          </p:cNvSpPr>
          <p:nvPr>
            <p:ph type="body" sz="quarter" idx="21" hasCustomPrompt="1"/>
          </p:nvPr>
        </p:nvSpPr>
        <p:spPr>
          <a:xfrm>
            <a:off x="374496" y="6274066"/>
            <a:ext cx="8395015" cy="237493"/>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
        <p:nvSpPr>
          <p:cNvPr id="13" name="タイトル 1">
            <a:extLst>
              <a:ext uri="{FF2B5EF4-FFF2-40B4-BE49-F238E27FC236}">
                <a16:creationId xmlns:a16="http://schemas.microsoft.com/office/drawing/2014/main" id="{AAC43A4C-5933-4319-9D2D-A105C4DCCDF8}"/>
              </a:ext>
            </a:extLst>
          </p:cNvPr>
          <p:cNvSpPr>
            <a:spLocks noGrp="1"/>
          </p:cNvSpPr>
          <p:nvPr>
            <p:ph type="title" hasCustomPrompt="1"/>
          </p:nvPr>
        </p:nvSpPr>
        <p:spPr>
          <a:xfrm>
            <a:off x="374496" y="402472"/>
            <a:ext cx="8395015" cy="779116"/>
          </a:xfrm>
          <a:solidFill>
            <a:srgbClr val="E6F1FE"/>
          </a:solidFill>
        </p:spPr>
        <p:txBody>
          <a:bodyPr vert="horz" anchor="ctr"/>
          <a:lstStyle>
            <a:lvl1pPr algn="l">
              <a:defRPr sz="2200" b="1"/>
            </a:lvl1pPr>
          </a:lstStyle>
          <a:p>
            <a:r>
              <a:rPr lang="ja-JP" altLang="en-US" dirty="0"/>
              <a:t>メッセージライン</a:t>
            </a:r>
            <a:r>
              <a:rPr lang="en-US" altLang="ja-JP" dirty="0"/>
              <a:t>(1~2</a:t>
            </a:r>
            <a:r>
              <a:rPr lang="ja-JP" altLang="en-US" dirty="0"/>
              <a:t>行で記述</a:t>
            </a:r>
            <a:r>
              <a:rPr lang="en-US" altLang="ja-JP" dirty="0"/>
              <a:t>) </a:t>
            </a:r>
            <a:endParaRPr lang="ja-JP" altLang="en-US" dirty="0"/>
          </a:p>
        </p:txBody>
      </p:sp>
    </p:spTree>
    <p:extLst>
      <p:ext uri="{BB962C8B-B14F-4D97-AF65-F5344CB8AC3E}">
        <p14:creationId xmlns:p14="http://schemas.microsoft.com/office/powerpoint/2010/main" val="1740195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graphicFrame>
        <p:nvGraphicFramePr>
          <p:cNvPr id="16" name="オブジェクト 15" hidden="1">
            <a:extLst>
              <a:ext uri="{FF2B5EF4-FFF2-40B4-BE49-F238E27FC236}">
                <a16:creationId xmlns:a16="http://schemas.microsoft.com/office/drawing/2014/main" id="{3FAE9E2C-0BA3-4FBF-A16D-79AD7DD2FFDA}"/>
              </a:ext>
            </a:extLst>
          </p:cNvPr>
          <p:cNvGraphicFramePr>
            <a:graphicFrameLocks noChangeAspect="1"/>
          </p:cNvGraphicFramePr>
          <p:nvPr userDrawn="1">
            <p:custDataLst>
              <p:tags r:id="rId1"/>
            </p:custDataLst>
            <p:extLst>
              <p:ext uri="{D42A27DB-BD31-4B8C-83A1-F6EECF244321}">
                <p14:modId xmlns:p14="http://schemas.microsoft.com/office/powerpoint/2010/main" val="3436233975"/>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16" name="オブジェクト 15" hidden="1">
                        <a:extLst>
                          <a:ext uri="{FF2B5EF4-FFF2-40B4-BE49-F238E27FC236}">
                            <a16:creationId xmlns:a16="http://schemas.microsoft.com/office/drawing/2014/main" id="{3FAE9E2C-0BA3-4FBF-A16D-79AD7DD2FFDA}"/>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15" name="正方形/長方形 14" hidden="1">
            <a:extLst>
              <a:ext uri="{FF2B5EF4-FFF2-40B4-BE49-F238E27FC236}">
                <a16:creationId xmlns:a16="http://schemas.microsoft.com/office/drawing/2014/main" id="{568A21FC-1FDF-4A24-82C9-6B6B37A46879}"/>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6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pic>
        <p:nvPicPr>
          <p:cNvPr id="28" name="図 27" descr="e4_3A_title.gif">
            <a:extLst>
              <a:ext uri="{FF2B5EF4-FFF2-40B4-BE49-F238E27FC236}">
                <a16:creationId xmlns:a16="http://schemas.microsoft.com/office/drawing/2014/main" id="{DB992DC3-1ACC-4BC1-9C22-E6C50F61A8D3}"/>
              </a:ext>
            </a:extLst>
          </p:cNvPr>
          <p:cNvPicPr>
            <a:picLocks noChangeAspect="1"/>
          </p:cNvPicPr>
          <p:nvPr userDrawn="1"/>
        </p:nvPicPr>
        <p:blipFill>
          <a:blip r:embed="rId6" cstate="print"/>
          <a:stretch>
            <a:fillRect/>
          </a:stretch>
        </p:blipFill>
        <p:spPr>
          <a:xfrm>
            <a:off x="95250" y="104775"/>
            <a:ext cx="8953500" cy="6648450"/>
          </a:xfrm>
          <a:prstGeom prst="rect">
            <a:avLst/>
          </a:prstGeom>
        </p:spPr>
      </p:pic>
      <p:pic>
        <p:nvPicPr>
          <p:cNvPr id="29" name="図 28">
            <a:extLst>
              <a:ext uri="{FF2B5EF4-FFF2-40B4-BE49-F238E27FC236}">
                <a16:creationId xmlns:a16="http://schemas.microsoft.com/office/drawing/2014/main" id="{E06162B9-52F2-42F0-ABEB-5DA6CFF5326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58034" y="6454856"/>
            <a:ext cx="996696" cy="286512"/>
          </a:xfrm>
          <a:prstGeom prst="rect">
            <a:avLst/>
          </a:prstGeom>
        </p:spPr>
      </p:pic>
      <p:pic>
        <p:nvPicPr>
          <p:cNvPr id="19" name="図 18">
            <a:extLst>
              <a:ext uri="{FF2B5EF4-FFF2-40B4-BE49-F238E27FC236}">
                <a16:creationId xmlns:a16="http://schemas.microsoft.com/office/drawing/2014/main" id="{1C394D98-E5C0-43ED-ACCE-3F8D36E807EC}"/>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251520" y="6508859"/>
            <a:ext cx="763200" cy="160507"/>
          </a:xfrm>
          <a:prstGeom prst="rect">
            <a:avLst/>
          </a:prstGeom>
        </p:spPr>
      </p:pic>
      <p:sp>
        <p:nvSpPr>
          <p:cNvPr id="2" name="タイトル 1"/>
          <p:cNvSpPr>
            <a:spLocks noGrp="1"/>
          </p:cNvSpPr>
          <p:nvPr>
            <p:ph type="ctrTitle" hasCustomPrompt="1"/>
          </p:nvPr>
        </p:nvSpPr>
        <p:spPr>
          <a:xfrm>
            <a:off x="685800" y="1268762"/>
            <a:ext cx="7772400" cy="1470026"/>
          </a:xfrm>
          <a:noFill/>
        </p:spPr>
        <p:txBody>
          <a:bodyPr anchor="b"/>
          <a:lstStyle>
            <a:lvl1pPr algn="l">
              <a:defRPr sz="3600" b="1">
                <a:solidFill>
                  <a:schemeClr val="bg1"/>
                </a:solidFill>
              </a:defRPr>
            </a:lvl1pPr>
          </a:lstStyle>
          <a:p>
            <a:r>
              <a:rPr lang="en-US" altLang="ja-JP" dirty="0"/>
              <a:t>Slide Title</a:t>
            </a:r>
            <a:endParaRPr lang="ja-JP" altLang="en-US" dirty="0"/>
          </a:p>
        </p:txBody>
      </p:sp>
      <p:sp>
        <p:nvSpPr>
          <p:cNvPr id="26" name="フッター プレースホルダ 4">
            <a:extLst>
              <a:ext uri="{FF2B5EF4-FFF2-40B4-BE49-F238E27FC236}">
                <a16:creationId xmlns:a16="http://schemas.microsoft.com/office/drawing/2014/main" id="{ACE9A4B3-1FB1-473B-B81A-82379D4E3AE8}"/>
              </a:ext>
            </a:extLst>
          </p:cNvPr>
          <p:cNvSpPr>
            <a:spLocks noGrp="1"/>
          </p:cNvSpPr>
          <p:nvPr>
            <p:ph type="ftr" sz="quarter" idx="3"/>
          </p:nvPr>
        </p:nvSpPr>
        <p:spPr>
          <a:xfrm>
            <a:off x="1007609" y="6430574"/>
            <a:ext cx="588167" cy="306234"/>
          </a:xfrm>
          <a:prstGeom prst="rect">
            <a:avLst/>
          </a:prstGeom>
        </p:spPr>
        <p:txBody>
          <a:bodyPr vert="horz" lIns="91440" tIns="45720" rIns="91440" bIns="45720" rtlCol="0" anchor="ctr"/>
          <a:lstStyle>
            <a:lvl1pPr algn="l" fontAlgn="auto">
              <a:spcBef>
                <a:spcPts val="0"/>
              </a:spcBef>
              <a:spcAft>
                <a:spcPts val="0"/>
              </a:spcAft>
              <a:defRPr sz="1200" b="1">
                <a:solidFill>
                  <a:schemeClr val="bg1"/>
                </a:solidFill>
                <a:latin typeface="+mn-lt"/>
                <a:ea typeface="+mn-ea"/>
                <a:cs typeface="Arial" pitchFamily="34" charset="0"/>
              </a:defRPr>
            </a:lvl1pPr>
          </a:lstStyle>
          <a:p>
            <a:pPr>
              <a:defRPr/>
            </a:pPr>
            <a:r>
              <a:rPr lang="en-US" altLang="ja-JP" dirty="0"/>
              <a:t>2021</a:t>
            </a:r>
            <a:endParaRPr lang="ja-JP" altLang="en-US" dirty="0"/>
          </a:p>
        </p:txBody>
      </p:sp>
      <p:sp>
        <p:nvSpPr>
          <p:cNvPr id="21" name="サブタイトル 2">
            <a:extLst>
              <a:ext uri="{FF2B5EF4-FFF2-40B4-BE49-F238E27FC236}">
                <a16:creationId xmlns:a16="http://schemas.microsoft.com/office/drawing/2014/main" id="{AF711EEE-A9D7-46CD-B031-4CB1C1C27301}"/>
              </a:ext>
            </a:extLst>
          </p:cNvPr>
          <p:cNvSpPr>
            <a:spLocks noGrp="1"/>
          </p:cNvSpPr>
          <p:nvPr>
            <p:ph type="subTitle" idx="1" hasCustomPrompt="1"/>
          </p:nvPr>
        </p:nvSpPr>
        <p:spPr>
          <a:xfrm>
            <a:off x="1835538" y="4082205"/>
            <a:ext cx="5609743" cy="355036"/>
          </a:xfrm>
          <a:noFill/>
        </p:spPr>
        <p:txBody>
          <a:bodyPr/>
          <a:lstStyle>
            <a:lvl1pPr marL="0" indent="0" algn="l">
              <a:buNone/>
              <a:defRPr sz="1800">
                <a:solidFill>
                  <a:schemeClr val="bg1"/>
                </a:solidFill>
              </a:defRPr>
            </a:lvl1pPr>
            <a:lvl2pPr marL="371455" indent="0" algn="ctr">
              <a:buNone/>
              <a:defRPr>
                <a:solidFill>
                  <a:schemeClr val="tx1">
                    <a:tint val="75000"/>
                  </a:schemeClr>
                </a:solidFill>
              </a:defRPr>
            </a:lvl2pPr>
            <a:lvl3pPr marL="742908" indent="0" algn="ctr">
              <a:buNone/>
              <a:defRPr>
                <a:solidFill>
                  <a:schemeClr val="tx1">
                    <a:tint val="75000"/>
                  </a:schemeClr>
                </a:solidFill>
              </a:defRPr>
            </a:lvl3pPr>
            <a:lvl4pPr marL="1114363" indent="0" algn="ctr">
              <a:buNone/>
              <a:defRPr>
                <a:solidFill>
                  <a:schemeClr val="tx1">
                    <a:tint val="75000"/>
                  </a:schemeClr>
                </a:solidFill>
              </a:defRPr>
            </a:lvl4pPr>
            <a:lvl5pPr marL="1485818" indent="0" algn="ctr">
              <a:buNone/>
              <a:defRPr>
                <a:solidFill>
                  <a:schemeClr val="tx1">
                    <a:tint val="75000"/>
                  </a:schemeClr>
                </a:solidFill>
              </a:defRPr>
            </a:lvl5pPr>
            <a:lvl6pPr marL="1857272" indent="0" algn="ctr">
              <a:buNone/>
              <a:defRPr>
                <a:solidFill>
                  <a:schemeClr val="tx1">
                    <a:tint val="75000"/>
                  </a:schemeClr>
                </a:solidFill>
              </a:defRPr>
            </a:lvl6pPr>
            <a:lvl7pPr marL="2228726" indent="0" algn="ctr">
              <a:buNone/>
              <a:defRPr>
                <a:solidFill>
                  <a:schemeClr val="tx1">
                    <a:tint val="75000"/>
                  </a:schemeClr>
                </a:solidFill>
              </a:defRPr>
            </a:lvl7pPr>
            <a:lvl8pPr marL="2600180" indent="0" algn="ctr">
              <a:buNone/>
              <a:defRPr>
                <a:solidFill>
                  <a:schemeClr val="tx1">
                    <a:tint val="75000"/>
                  </a:schemeClr>
                </a:solidFill>
              </a:defRPr>
            </a:lvl8pPr>
            <a:lvl9pPr marL="2971635" indent="0" algn="ctr">
              <a:buNone/>
              <a:defRPr>
                <a:solidFill>
                  <a:schemeClr val="tx1">
                    <a:tint val="75000"/>
                  </a:schemeClr>
                </a:solidFill>
              </a:defRPr>
            </a:lvl9pPr>
          </a:lstStyle>
          <a:p>
            <a:r>
              <a:rPr lang="en-US" altLang="ja-JP" dirty="0"/>
              <a:t>XXXXXX</a:t>
            </a:r>
            <a:r>
              <a:rPr lang="ja-JP" altLang="en-US" dirty="0"/>
              <a:t> </a:t>
            </a:r>
            <a:r>
              <a:rPr lang="en-US" altLang="ja-JP" dirty="0"/>
              <a:t>Research Laboratory,</a:t>
            </a:r>
          </a:p>
        </p:txBody>
      </p:sp>
      <p:sp>
        <p:nvSpPr>
          <p:cNvPr id="22" name="テキスト プレースホルダ 2">
            <a:extLst>
              <a:ext uri="{FF2B5EF4-FFF2-40B4-BE49-F238E27FC236}">
                <a16:creationId xmlns:a16="http://schemas.microsoft.com/office/drawing/2014/main" id="{69C97A44-66B1-4DCE-9518-83C32D7F8F1F}"/>
              </a:ext>
            </a:extLst>
          </p:cNvPr>
          <p:cNvSpPr>
            <a:spLocks noGrp="1"/>
          </p:cNvSpPr>
          <p:nvPr>
            <p:ph type="body" idx="14" hasCustomPrompt="1"/>
          </p:nvPr>
        </p:nvSpPr>
        <p:spPr>
          <a:xfrm>
            <a:off x="1835698" y="3354111"/>
            <a:ext cx="5609582" cy="355035"/>
          </a:xfrm>
        </p:spPr>
        <p:txBody>
          <a:bodyPr anchor="ctr" anchorCtr="0"/>
          <a:lstStyle>
            <a:lvl1pPr marL="0" indent="0">
              <a:buNone/>
              <a:defRPr sz="2000" b="1">
                <a:solidFill>
                  <a:schemeClr val="bg1"/>
                </a:solidFill>
              </a:defRPr>
            </a:lvl1pPr>
            <a:lvl2pPr marL="371455" indent="0">
              <a:buNone/>
              <a:defRPr sz="1625" b="1"/>
            </a:lvl2pPr>
            <a:lvl3pPr marL="742908" indent="0">
              <a:buNone/>
              <a:defRPr sz="1463" b="1"/>
            </a:lvl3pPr>
            <a:lvl4pPr marL="1114363" indent="0">
              <a:buNone/>
              <a:defRPr sz="1300" b="1"/>
            </a:lvl4pPr>
            <a:lvl5pPr marL="1485818" indent="0">
              <a:buNone/>
              <a:defRPr sz="1300" b="1"/>
            </a:lvl5pPr>
            <a:lvl6pPr marL="1857272" indent="0">
              <a:buNone/>
              <a:defRPr sz="1300" b="1"/>
            </a:lvl6pPr>
            <a:lvl7pPr marL="2228726" indent="0">
              <a:buNone/>
              <a:defRPr sz="1300" b="1"/>
            </a:lvl7pPr>
            <a:lvl8pPr marL="2600180" indent="0">
              <a:buNone/>
              <a:defRPr sz="1300" b="1"/>
            </a:lvl8pPr>
            <a:lvl9pPr marL="2971635" indent="0">
              <a:buNone/>
              <a:defRPr sz="1300" b="1"/>
            </a:lvl9pPr>
          </a:lstStyle>
          <a:p>
            <a:pPr lvl="0"/>
            <a:r>
              <a:rPr lang="en-US" altLang="ja-JP" dirty="0"/>
              <a:t>Taro </a:t>
            </a:r>
            <a:r>
              <a:rPr lang="en-US" altLang="ja-JP" dirty="0" err="1"/>
              <a:t>Denchuken</a:t>
            </a:r>
            <a:endParaRPr lang="ja-JP" altLang="en-US" dirty="0"/>
          </a:p>
        </p:txBody>
      </p:sp>
      <p:sp>
        <p:nvSpPr>
          <p:cNvPr id="23" name="テキスト ボックス 22">
            <a:extLst>
              <a:ext uri="{FF2B5EF4-FFF2-40B4-BE49-F238E27FC236}">
                <a16:creationId xmlns:a16="http://schemas.microsoft.com/office/drawing/2014/main" id="{234E9FEF-1635-4F31-BB9C-B3E318E89AAA}"/>
              </a:ext>
            </a:extLst>
          </p:cNvPr>
          <p:cNvSpPr txBox="1"/>
          <p:nvPr userDrawn="1"/>
        </p:nvSpPr>
        <p:spPr>
          <a:xfrm>
            <a:off x="1835538" y="4414948"/>
            <a:ext cx="5609743" cy="369332"/>
          </a:xfrm>
          <a:prstGeom prst="rect">
            <a:avLst/>
          </a:prstGeom>
          <a:noFill/>
        </p:spPr>
        <p:txBody>
          <a:bodyPr wrap="square" rtlCol="0">
            <a:spAutoFit/>
          </a:bodyPr>
          <a:lstStyle/>
          <a:p>
            <a:pPr algn="l"/>
            <a:r>
              <a:rPr kumimoji="1" lang="en-US" altLang="ja-JP" sz="1800" b="0" kern="1200" dirty="0">
                <a:solidFill>
                  <a:schemeClr val="bg1"/>
                </a:solidFill>
                <a:latin typeface="Arial" charset="0"/>
                <a:ea typeface="ＭＳ Ｐゴシック" charset="-128"/>
                <a:cs typeface="+mn-cs"/>
              </a:rPr>
              <a:t>Central Research Institute of Electric Power Industry</a:t>
            </a:r>
          </a:p>
        </p:txBody>
      </p:sp>
      <p:sp>
        <p:nvSpPr>
          <p:cNvPr id="24" name="コンテンツ プレースホルダー 5">
            <a:extLst>
              <a:ext uri="{FF2B5EF4-FFF2-40B4-BE49-F238E27FC236}">
                <a16:creationId xmlns:a16="http://schemas.microsoft.com/office/drawing/2014/main" id="{9E734B9D-B179-4643-98B9-EBE23CFF5BCB}"/>
              </a:ext>
            </a:extLst>
          </p:cNvPr>
          <p:cNvSpPr>
            <a:spLocks noGrp="1"/>
          </p:cNvSpPr>
          <p:nvPr>
            <p:ph sz="quarter" idx="17" hasCustomPrompt="1"/>
          </p:nvPr>
        </p:nvSpPr>
        <p:spPr>
          <a:xfrm>
            <a:off x="1835698" y="5397083"/>
            <a:ext cx="5609582" cy="386023"/>
          </a:xfrm>
        </p:spPr>
        <p:txBody>
          <a:bodyPr/>
          <a:lstStyle>
            <a:lvl1pPr marL="0" marR="0" indent="0" algn="l" defTabSz="914377" rtl="0" eaLnBrk="1" fontAlgn="base" latinLnBrk="0" hangingPunct="1">
              <a:lnSpc>
                <a:spcPct val="100000"/>
              </a:lnSpc>
              <a:spcBef>
                <a:spcPts val="244"/>
              </a:spcBef>
              <a:spcAft>
                <a:spcPct val="0"/>
              </a:spcAft>
              <a:buClr>
                <a:schemeClr val="tx1"/>
              </a:buClr>
              <a:buSzTx/>
              <a:buFont typeface="Wingdings" panose="05000000000000000000" pitchFamily="2" charset="2"/>
              <a:buNone/>
              <a:tabLst/>
              <a:defRPr sz="1800">
                <a:solidFill>
                  <a:schemeClr val="bg1"/>
                </a:solidFill>
              </a:defRPr>
            </a:lvl1pPr>
          </a:lstStyle>
          <a:p>
            <a:pPr marL="0" marR="0" lvl="0" indent="0" algn="l" defTabSz="914377" rtl="0" eaLnBrk="1" fontAlgn="base" latinLnBrk="0" hangingPunct="1">
              <a:lnSpc>
                <a:spcPct val="100000"/>
              </a:lnSpc>
              <a:spcBef>
                <a:spcPts val="244"/>
              </a:spcBef>
              <a:spcAft>
                <a:spcPct val="0"/>
              </a:spcAft>
              <a:buClr>
                <a:schemeClr val="tx1"/>
              </a:buClr>
              <a:buSzTx/>
              <a:buFont typeface="Wingdings" panose="05000000000000000000" pitchFamily="2" charset="2"/>
              <a:buNone/>
              <a:tabLst/>
              <a:defRPr/>
            </a:pPr>
            <a:r>
              <a:rPr lang="en-US" altLang="ja-JP" dirty="0"/>
              <a:t>Month Day, Year</a:t>
            </a:r>
            <a:endParaRPr lang="ja-JP" altLang="en-US" dirty="0"/>
          </a:p>
        </p:txBody>
      </p:sp>
      <p:sp>
        <p:nvSpPr>
          <p:cNvPr id="25" name="コンテンツ プレースホルダー 5">
            <a:extLst>
              <a:ext uri="{FF2B5EF4-FFF2-40B4-BE49-F238E27FC236}">
                <a16:creationId xmlns:a16="http://schemas.microsoft.com/office/drawing/2014/main" id="{5D1D1639-1D67-4DFF-BA3B-8F6E5629B67B}"/>
              </a:ext>
            </a:extLst>
          </p:cNvPr>
          <p:cNvSpPr>
            <a:spLocks noGrp="1"/>
          </p:cNvSpPr>
          <p:nvPr>
            <p:ph sz="quarter" idx="18" hasCustomPrompt="1"/>
          </p:nvPr>
        </p:nvSpPr>
        <p:spPr>
          <a:xfrm>
            <a:off x="1835698" y="5026850"/>
            <a:ext cx="5609582" cy="386023"/>
          </a:xfrm>
        </p:spPr>
        <p:txBody>
          <a:bodyPr/>
          <a:lstStyle>
            <a:lvl1pPr marL="0" indent="0">
              <a:buNone/>
              <a:defRPr sz="1800" b="1">
                <a:solidFill>
                  <a:schemeClr val="bg1"/>
                </a:solidFill>
              </a:defRPr>
            </a:lvl1pPr>
          </a:lstStyle>
          <a:p>
            <a:pPr lvl="0"/>
            <a:r>
              <a:rPr kumimoji="1" lang="en-US" altLang="ja-JP" dirty="0"/>
              <a:t>Seminar / Event</a:t>
            </a:r>
            <a:endParaRPr kumimoji="1" lang="ja-JP" altLang="en-US" dirty="0"/>
          </a:p>
        </p:txBody>
      </p:sp>
      <p:sp>
        <p:nvSpPr>
          <p:cNvPr id="27" name="コンテンツ プレースホルダー 29">
            <a:extLst>
              <a:ext uri="{FF2B5EF4-FFF2-40B4-BE49-F238E27FC236}">
                <a16:creationId xmlns:a16="http://schemas.microsoft.com/office/drawing/2014/main" id="{EE9ECFD1-D090-44BC-86DC-5DCC0E95E324}"/>
              </a:ext>
            </a:extLst>
          </p:cNvPr>
          <p:cNvSpPr>
            <a:spLocks noGrp="1"/>
          </p:cNvSpPr>
          <p:nvPr>
            <p:ph sz="quarter" idx="19" hasCustomPrompt="1"/>
          </p:nvPr>
        </p:nvSpPr>
        <p:spPr>
          <a:xfrm>
            <a:off x="1835698" y="3744588"/>
            <a:ext cx="5609582" cy="355035"/>
          </a:xfrm>
        </p:spPr>
        <p:txBody>
          <a:bodyPr/>
          <a:lstStyle>
            <a:lvl1pPr marL="0" indent="0">
              <a:buNone/>
              <a:defRPr sz="1800">
                <a:solidFill>
                  <a:schemeClr val="bg1"/>
                </a:solidFill>
              </a:defRPr>
            </a:lvl1pPr>
          </a:lstStyle>
          <a:p>
            <a:pPr lvl="0"/>
            <a:r>
              <a:rPr kumimoji="1" lang="en-US" altLang="ja-JP" dirty="0"/>
              <a:t>Research Scientist</a:t>
            </a:r>
            <a:endParaRPr kumimoji="1" lang="ja-JP" altLang="en-US" dirty="0"/>
          </a:p>
        </p:txBody>
      </p:sp>
    </p:spTree>
    <p:extLst>
      <p:ext uri="{BB962C8B-B14F-4D97-AF65-F5344CB8AC3E}">
        <p14:creationId xmlns:p14="http://schemas.microsoft.com/office/powerpoint/2010/main" val="2727901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61133E61-B4FF-4268-AE06-99469B145BC5}"/>
              </a:ext>
            </a:extLst>
          </p:cNvPr>
          <p:cNvGraphicFramePr>
            <a:graphicFrameLocks noChangeAspect="1"/>
          </p:cNvGraphicFramePr>
          <p:nvPr userDrawn="1">
            <p:custDataLst>
              <p:tags r:id="rId1"/>
            </p:custDataLst>
            <p:extLst>
              <p:ext uri="{D42A27DB-BD31-4B8C-83A1-F6EECF244321}">
                <p14:modId xmlns:p14="http://schemas.microsoft.com/office/powerpoint/2010/main" val="3053002999"/>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61133E61-B4FF-4268-AE06-99469B145BC5}"/>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960A0A-092B-4319-8185-3AAFB8C1F062}"/>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3692"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722313" y="4406908"/>
            <a:ext cx="7772400" cy="1362075"/>
          </a:xfrm>
        </p:spPr>
        <p:txBody>
          <a:bodyPr vert="horz" anchor="t"/>
          <a:lstStyle>
            <a:lvl1pPr algn="l">
              <a:defRPr sz="3600" b="1" cap="all">
                <a:solidFill>
                  <a:schemeClr val="tx1"/>
                </a:solidFill>
              </a:defRPr>
            </a:lvl1pPr>
          </a:lstStyle>
          <a:p>
            <a:r>
              <a:rPr lang="en-US" altLang="ja-JP" dirty="0"/>
              <a:t>Chapter</a:t>
            </a:r>
            <a:r>
              <a:rPr lang="ja-JP" altLang="en-US" dirty="0"/>
              <a:t> </a:t>
            </a:r>
            <a:r>
              <a:rPr lang="en-US" altLang="ja-JP" dirty="0"/>
              <a:t>title</a:t>
            </a:r>
            <a:endParaRPr lang="ja-JP" altLang="en-US" dirty="0"/>
          </a:p>
        </p:txBody>
      </p:sp>
      <p:sp>
        <p:nvSpPr>
          <p:cNvPr id="3" name="テキスト プレースホルダ 2"/>
          <p:cNvSpPr>
            <a:spLocks noGrp="1"/>
          </p:cNvSpPr>
          <p:nvPr>
            <p:ph type="body" idx="1" hasCustomPrompt="1"/>
          </p:nvPr>
        </p:nvSpPr>
        <p:spPr>
          <a:xfrm>
            <a:off x="722313" y="2906713"/>
            <a:ext cx="7772400" cy="1500187"/>
          </a:xfrm>
        </p:spPr>
        <p:txBody>
          <a:bodyPr anchor="b"/>
          <a:lstStyle>
            <a:lvl1pPr marL="0" indent="0">
              <a:buNone/>
              <a:defRPr sz="2000">
                <a:solidFill>
                  <a:schemeClr val="tx1"/>
                </a:solidFill>
              </a:defRPr>
            </a:lvl1pPr>
            <a:lvl2pPr marL="422028" indent="0">
              <a:buNone/>
              <a:defRPr sz="1661">
                <a:solidFill>
                  <a:schemeClr val="tx1">
                    <a:tint val="75000"/>
                  </a:schemeClr>
                </a:solidFill>
              </a:defRPr>
            </a:lvl2pPr>
            <a:lvl3pPr marL="844058" indent="0">
              <a:buNone/>
              <a:defRPr sz="1477">
                <a:solidFill>
                  <a:schemeClr val="tx1">
                    <a:tint val="75000"/>
                  </a:schemeClr>
                </a:solidFill>
              </a:defRPr>
            </a:lvl3pPr>
            <a:lvl4pPr marL="1266086" indent="0">
              <a:buNone/>
              <a:defRPr sz="1291">
                <a:solidFill>
                  <a:schemeClr val="tx1">
                    <a:tint val="75000"/>
                  </a:schemeClr>
                </a:solidFill>
              </a:defRPr>
            </a:lvl4pPr>
            <a:lvl5pPr marL="1688112" indent="0">
              <a:buNone/>
              <a:defRPr sz="1291">
                <a:solidFill>
                  <a:schemeClr val="tx1">
                    <a:tint val="75000"/>
                  </a:schemeClr>
                </a:solidFill>
              </a:defRPr>
            </a:lvl5pPr>
            <a:lvl6pPr marL="2110142" indent="0">
              <a:buNone/>
              <a:defRPr sz="1291">
                <a:solidFill>
                  <a:schemeClr val="tx1">
                    <a:tint val="75000"/>
                  </a:schemeClr>
                </a:solidFill>
              </a:defRPr>
            </a:lvl6pPr>
            <a:lvl7pPr marL="2532170" indent="0">
              <a:buNone/>
              <a:defRPr sz="1291">
                <a:solidFill>
                  <a:schemeClr val="tx1">
                    <a:tint val="75000"/>
                  </a:schemeClr>
                </a:solidFill>
              </a:defRPr>
            </a:lvl7pPr>
            <a:lvl8pPr marL="2954199" indent="0">
              <a:buNone/>
              <a:defRPr sz="1291">
                <a:solidFill>
                  <a:schemeClr val="tx1">
                    <a:tint val="75000"/>
                  </a:schemeClr>
                </a:solidFill>
              </a:defRPr>
            </a:lvl8pPr>
            <a:lvl9pPr marL="3376226" indent="0">
              <a:buNone/>
              <a:defRPr sz="1291">
                <a:solidFill>
                  <a:schemeClr val="tx1">
                    <a:tint val="75000"/>
                  </a:schemeClr>
                </a:solidFill>
              </a:defRPr>
            </a:lvl9pPr>
          </a:lstStyle>
          <a:p>
            <a:pPr lvl="0"/>
            <a:r>
              <a:rPr lang="en-US" altLang="ja-JP" dirty="0"/>
              <a:t>Chapter description</a:t>
            </a:r>
            <a:endParaRPr lang="ja-JP" altLang="en-US" dirty="0"/>
          </a:p>
        </p:txBody>
      </p:sp>
      <p:sp>
        <p:nvSpPr>
          <p:cNvPr id="7" name="スライド番号プレースホルダ 13">
            <a:extLst>
              <a:ext uri="{FF2B5EF4-FFF2-40B4-BE49-F238E27FC236}">
                <a16:creationId xmlns:a16="http://schemas.microsoft.com/office/drawing/2014/main" id="{0249FF53-1257-4BAD-BE1B-76F32B91DB16}"/>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8" name="フッター プレースホルダ 4">
            <a:extLst>
              <a:ext uri="{FF2B5EF4-FFF2-40B4-BE49-F238E27FC236}">
                <a16:creationId xmlns:a16="http://schemas.microsoft.com/office/drawing/2014/main" id="{3878CB30-2171-4D23-9A51-F1C66D75376E}"/>
              </a:ext>
            </a:extLst>
          </p:cNvPr>
          <p:cNvSpPr txBox="1">
            <a:spLocks/>
          </p:cNvSpPr>
          <p:nvPr userDrawn="1"/>
        </p:nvSpPr>
        <p:spPr>
          <a:xfrm>
            <a:off x="1014720" y="6560253"/>
            <a:ext cx="763200" cy="209162"/>
          </a:xfrm>
          <a:prstGeom prst="rect">
            <a:avLst/>
          </a:prstGeom>
        </p:spPr>
        <p:txBody>
          <a:bodyPr vert="horz" lIns="112543" tIns="56271" rIns="112543" bIns="56271" rtlCol="0" anchor="ctr"/>
          <a:lstStyle>
            <a:defPPr>
              <a:defRPr lang="ja-JP"/>
            </a:defPPr>
            <a:lvl1pPr algn="l" rtl="0" fontAlgn="auto">
              <a:spcBef>
                <a:spcPts val="0"/>
              </a:spcBef>
              <a:spcAft>
                <a:spcPts val="0"/>
              </a:spcAft>
              <a:defRPr kumimoji="1" sz="1100" b="1" kern="1200">
                <a:solidFill>
                  <a:schemeClr val="bg1"/>
                </a:solidFill>
                <a:latin typeface="+mn-lt"/>
                <a:ea typeface="+mn-ea"/>
                <a:cs typeface="Arial" pitchFamily="34" charset="0"/>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a:defRPr/>
            </a:pPr>
            <a:r>
              <a:rPr lang="en-US" altLang="ja-JP" sz="1200" dirty="0"/>
              <a:t>2021</a:t>
            </a:r>
            <a:endParaRPr lang="ja-JP" altLang="en-US" sz="1200" dirty="0"/>
          </a:p>
        </p:txBody>
      </p:sp>
    </p:spTree>
    <p:extLst>
      <p:ext uri="{BB962C8B-B14F-4D97-AF65-F5344CB8AC3E}">
        <p14:creationId xmlns:p14="http://schemas.microsoft.com/office/powerpoint/2010/main" val="662350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メッセージ＋本文">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3425293296"/>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374496" y="402472"/>
            <a:ext cx="8395015" cy="779116"/>
          </a:xfrm>
          <a:solidFill>
            <a:srgbClr val="E6F1FE"/>
          </a:solidFill>
        </p:spPr>
        <p:txBody>
          <a:bodyPr vert="horz" anchor="ctr"/>
          <a:lstStyle>
            <a:lvl1pPr algn="l">
              <a:defRPr sz="2200" b="1"/>
            </a:lvl1pPr>
          </a:lstStyle>
          <a:p>
            <a:r>
              <a:rPr lang="en-US" altLang="ja-JP" dirty="0"/>
              <a:t>Message line (in 1~2 lines) </a:t>
            </a:r>
            <a:endParaRPr lang="ja-JP" altLang="en-US" dirty="0"/>
          </a:p>
        </p:txBody>
      </p:sp>
      <p:sp>
        <p:nvSpPr>
          <p:cNvPr id="3" name="コンテンツ プレースホルダ 2"/>
          <p:cNvSpPr>
            <a:spLocks noGrp="1"/>
          </p:cNvSpPr>
          <p:nvPr>
            <p:ph idx="1" hasCustomPrompt="1"/>
          </p:nvPr>
        </p:nvSpPr>
        <p:spPr>
          <a:xfrm>
            <a:off x="374496" y="1355942"/>
            <a:ext cx="8395015" cy="4479659"/>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a:lvl1pPr>
            <a:lvl2pPr>
              <a:defRPr lang="ja-JP" altLang="en-US" dirty="0"/>
            </a:lvl2pPr>
            <a:lvl3pPr>
              <a:defRPr lang="ja-JP" altLang="en-US" dirty="0"/>
            </a:lvl3pPr>
            <a:lvl4pPr>
              <a:defRPr lang="ja-JP" altLang="en-US" dirty="0"/>
            </a:lvl4pPr>
            <a:lvl5pPr>
              <a:defRPr lang="ja-JP" altLang="en-US" dirty="0"/>
            </a:lvl5pPr>
          </a:lstStyle>
          <a:p>
            <a:pPr lvl="0">
              <a:buClrTx/>
            </a:pPr>
            <a:r>
              <a:rPr lang="en-US" altLang="ja-JP" dirty="0"/>
              <a:t>Text</a:t>
            </a:r>
            <a:endParaRPr lang="ja-JP" altLang="en-US" dirty="0"/>
          </a:p>
          <a:p>
            <a:pPr lvl="1">
              <a:buClrTx/>
            </a:pPr>
            <a:r>
              <a:rPr lang="ja-JP" altLang="en-US" dirty="0"/>
              <a:t>第 </a:t>
            </a:r>
            <a:r>
              <a:rPr lang="en-US" altLang="ja-JP" dirty="0"/>
              <a:t>2 </a:t>
            </a:r>
            <a:r>
              <a:rPr lang="ja-JP" altLang="en-US" dirty="0"/>
              <a:t>レベル</a:t>
            </a:r>
          </a:p>
          <a:p>
            <a:pPr lvl="2">
              <a:buClrTx/>
            </a:pPr>
            <a:r>
              <a:rPr lang="ja-JP" altLang="en-US" dirty="0"/>
              <a:t>第 </a:t>
            </a:r>
            <a:r>
              <a:rPr lang="en-US" altLang="ja-JP" dirty="0"/>
              <a:t>3 </a:t>
            </a:r>
            <a:r>
              <a:rPr lang="ja-JP" altLang="en-US" dirty="0"/>
              <a:t>レベル</a:t>
            </a:r>
          </a:p>
          <a:p>
            <a:pPr lvl="3">
              <a:buClrTx/>
            </a:pPr>
            <a:r>
              <a:rPr lang="ja-JP" altLang="en-US" dirty="0"/>
              <a:t>第 </a:t>
            </a:r>
            <a:r>
              <a:rPr lang="en-US" altLang="ja-JP" dirty="0"/>
              <a:t>4 </a:t>
            </a:r>
            <a:r>
              <a:rPr lang="ja-JP" altLang="en-US" dirty="0"/>
              <a:t>レベル</a:t>
            </a:r>
          </a:p>
          <a:p>
            <a:pPr lvl="4">
              <a:buClrTx/>
            </a:pPr>
            <a:r>
              <a:rPr lang="ja-JP" altLang="en-US" dirty="0"/>
              <a:t>第 </a:t>
            </a:r>
            <a:r>
              <a:rPr lang="en-US" altLang="ja-JP" dirty="0"/>
              <a:t>5 </a:t>
            </a:r>
            <a:r>
              <a:rPr lang="ja-JP" altLang="en-US" dirty="0"/>
              <a:t>レベル</a:t>
            </a:r>
          </a:p>
        </p:txBody>
      </p:sp>
      <p:sp>
        <p:nvSpPr>
          <p:cNvPr id="26" name="テキスト プレースホルダー 21">
            <a:extLst>
              <a:ext uri="{FF2B5EF4-FFF2-40B4-BE49-F238E27FC236}">
                <a16:creationId xmlns:a16="http://schemas.microsoft.com/office/drawing/2014/main" id="{3B4572FA-8D65-4518-98CB-63507ACC89A4}"/>
              </a:ext>
            </a:extLst>
          </p:cNvPr>
          <p:cNvSpPr>
            <a:spLocks noGrp="1"/>
          </p:cNvSpPr>
          <p:nvPr>
            <p:ph type="body" sz="quarter" idx="15" hasCustomPrompt="1"/>
          </p:nvPr>
        </p:nvSpPr>
        <p:spPr>
          <a:xfrm>
            <a:off x="374496" y="6028469"/>
            <a:ext cx="8395015" cy="234148"/>
          </a:xfrm>
        </p:spPr>
        <p:txBody>
          <a:bodyPr anchor="b"/>
          <a:lstStyle>
            <a:lvl1pPr marL="0" indent="0">
              <a:buNone/>
              <a:defRPr sz="1100"/>
            </a:lvl1pPr>
            <a:lvl2pPr>
              <a:defRPr sz="923"/>
            </a:lvl2pPr>
            <a:lvl3pPr>
              <a:defRPr sz="923"/>
            </a:lvl3pPr>
            <a:lvl4pPr>
              <a:defRPr sz="923"/>
            </a:lvl4pPr>
            <a:lvl5pPr>
              <a:defRPr sz="923"/>
            </a:lvl5pPr>
          </a:lstStyle>
          <a:p>
            <a:pPr lvl="0"/>
            <a:r>
              <a:rPr kumimoji="1" lang="en-US" altLang="ja-JP" dirty="0"/>
              <a:t>Footnote: 1. </a:t>
            </a:r>
            <a:r>
              <a:rPr kumimoji="1" lang="en-US" altLang="ja-JP" dirty="0" err="1"/>
              <a:t>xxxxx</a:t>
            </a:r>
            <a:r>
              <a:rPr kumimoji="1" lang="ja-JP" altLang="en-US" dirty="0"/>
              <a:t>、</a:t>
            </a:r>
            <a:r>
              <a:rPr kumimoji="1" lang="en-US" altLang="ja-JP" dirty="0"/>
              <a:t>2. YYYYY</a:t>
            </a:r>
            <a:endParaRPr kumimoji="1" lang="ja-JP" altLang="en-US" dirty="0"/>
          </a:p>
        </p:txBody>
      </p:sp>
      <p:sp>
        <p:nvSpPr>
          <p:cNvPr id="12" name="テキスト プレースホルダー 11">
            <a:extLst>
              <a:ext uri="{FF2B5EF4-FFF2-40B4-BE49-F238E27FC236}">
                <a16:creationId xmlns:a16="http://schemas.microsoft.com/office/drawing/2014/main" id="{5AD276B5-DC73-4146-8703-95225DCEE3E3}"/>
              </a:ext>
            </a:extLst>
          </p:cNvPr>
          <p:cNvSpPr>
            <a:spLocks noGrp="1"/>
          </p:cNvSpPr>
          <p:nvPr>
            <p:ph type="body" sz="quarter" idx="13" hasCustomPrompt="1"/>
          </p:nvPr>
        </p:nvSpPr>
        <p:spPr>
          <a:xfrm>
            <a:off x="374493" y="72009"/>
            <a:ext cx="2253292" cy="332656"/>
          </a:xfrm>
        </p:spPr>
        <p:txBody>
          <a:bodyPr/>
          <a:lstStyle>
            <a:lvl1pPr marL="0" indent="0">
              <a:buNone/>
              <a:defRPr sz="1400"/>
            </a:lvl1pPr>
          </a:lstStyle>
          <a:p>
            <a:pPr lvl="0"/>
            <a:r>
              <a:rPr kumimoji="1" lang="en-US" altLang="ja-JP" dirty="0"/>
              <a:t>Chapter</a:t>
            </a:r>
            <a:endParaRPr kumimoji="1" lang="ja-JP" altLang="en-US" dirty="0"/>
          </a:p>
        </p:txBody>
      </p:sp>
      <p:sp>
        <p:nvSpPr>
          <p:cNvPr id="13" name="スライド番号プレースホルダ 13">
            <a:extLst>
              <a:ext uri="{FF2B5EF4-FFF2-40B4-BE49-F238E27FC236}">
                <a16:creationId xmlns:a16="http://schemas.microsoft.com/office/drawing/2014/main" id="{D2A5324B-6FEE-4DF2-A914-C7DC80FBD05B}"/>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14" name="テキスト プレースホルダー 24">
            <a:extLst>
              <a:ext uri="{FF2B5EF4-FFF2-40B4-BE49-F238E27FC236}">
                <a16:creationId xmlns:a16="http://schemas.microsoft.com/office/drawing/2014/main" id="{23EEE3C7-857D-416E-9B2B-D8A246869B3E}"/>
              </a:ext>
            </a:extLst>
          </p:cNvPr>
          <p:cNvSpPr>
            <a:spLocks noGrp="1"/>
          </p:cNvSpPr>
          <p:nvPr>
            <p:ph type="body" sz="quarter" idx="18" hasCustomPrompt="1"/>
          </p:nvPr>
        </p:nvSpPr>
        <p:spPr>
          <a:xfrm>
            <a:off x="374496" y="6274066"/>
            <a:ext cx="8395015" cy="237493"/>
          </a:xfrm>
        </p:spPr>
        <p:txBody>
          <a:bodyPr anchor="b"/>
          <a:lstStyle>
            <a:lvl1pPr marL="0" indent="0">
              <a:buNone/>
              <a:defRPr sz="1100"/>
            </a:lvl1pPr>
            <a:lvl2pPr>
              <a:defRPr sz="923"/>
            </a:lvl2pPr>
            <a:lvl3pPr>
              <a:defRPr sz="923"/>
            </a:lvl3pPr>
            <a:lvl4pPr>
              <a:defRPr sz="923"/>
            </a:lvl4pPr>
            <a:lvl5pPr>
              <a:defRPr sz="923"/>
            </a:lvl5pPr>
          </a:lstStyle>
          <a:p>
            <a:pPr lvl="0"/>
            <a:r>
              <a:rPr kumimoji="1" lang="en-US" altLang="ja-JP" dirty="0"/>
              <a:t>Source: ZZZZZ</a:t>
            </a:r>
            <a:endParaRPr kumimoji="1" lang="ja-JP" altLang="en-US" dirty="0"/>
          </a:p>
        </p:txBody>
      </p:sp>
    </p:spTree>
    <p:extLst>
      <p:ext uri="{BB962C8B-B14F-4D97-AF65-F5344CB8AC3E}">
        <p14:creationId xmlns:p14="http://schemas.microsoft.com/office/powerpoint/2010/main" val="386603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61133E61-B4FF-4268-AE06-99469B145BC5}"/>
              </a:ext>
            </a:extLst>
          </p:cNvPr>
          <p:cNvGraphicFramePr>
            <a:graphicFrameLocks noChangeAspect="1"/>
          </p:cNvGraphicFramePr>
          <p:nvPr userDrawn="1">
            <p:custDataLst>
              <p:tags r:id="rId1"/>
            </p:custDataLst>
            <p:extLst>
              <p:ext uri="{D42A27DB-BD31-4B8C-83A1-F6EECF244321}">
                <p14:modId xmlns:p14="http://schemas.microsoft.com/office/powerpoint/2010/main" val="812773981"/>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61133E61-B4FF-4268-AE06-99469B145BC5}"/>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960A0A-092B-4319-8185-3AAFB8C1F062}"/>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3692"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722313" y="4406908"/>
            <a:ext cx="7772400" cy="1362075"/>
          </a:xfrm>
        </p:spPr>
        <p:txBody>
          <a:bodyPr anchor="t"/>
          <a:lstStyle>
            <a:lvl1pPr algn="l">
              <a:defRPr sz="3600" b="1" cap="all">
                <a:solidFill>
                  <a:schemeClr val="tx2"/>
                </a:solidFill>
              </a:defRPr>
            </a:lvl1pPr>
          </a:lstStyle>
          <a:p>
            <a:r>
              <a:rPr lang="ja-JP" altLang="en-US" dirty="0"/>
              <a:t>章タイトル</a:t>
            </a:r>
          </a:p>
        </p:txBody>
      </p:sp>
      <p:sp>
        <p:nvSpPr>
          <p:cNvPr id="3" name="テキスト プレースホルダ 2"/>
          <p:cNvSpPr>
            <a:spLocks noGrp="1"/>
          </p:cNvSpPr>
          <p:nvPr>
            <p:ph type="body" idx="1" hasCustomPrompt="1"/>
          </p:nvPr>
        </p:nvSpPr>
        <p:spPr>
          <a:xfrm>
            <a:off x="722313" y="2906713"/>
            <a:ext cx="7772400" cy="1500187"/>
          </a:xfrm>
        </p:spPr>
        <p:txBody>
          <a:bodyPr anchor="b"/>
          <a:lstStyle>
            <a:lvl1pPr marL="0" indent="0">
              <a:buNone/>
              <a:defRPr sz="2000">
                <a:solidFill>
                  <a:schemeClr val="tx1"/>
                </a:solidFill>
              </a:defRPr>
            </a:lvl1pPr>
            <a:lvl2pPr marL="422028" indent="0">
              <a:buNone/>
              <a:defRPr sz="1661">
                <a:solidFill>
                  <a:schemeClr val="tx1">
                    <a:tint val="75000"/>
                  </a:schemeClr>
                </a:solidFill>
              </a:defRPr>
            </a:lvl2pPr>
            <a:lvl3pPr marL="844058" indent="0">
              <a:buNone/>
              <a:defRPr sz="1477">
                <a:solidFill>
                  <a:schemeClr val="tx1">
                    <a:tint val="75000"/>
                  </a:schemeClr>
                </a:solidFill>
              </a:defRPr>
            </a:lvl3pPr>
            <a:lvl4pPr marL="1266086" indent="0">
              <a:buNone/>
              <a:defRPr sz="1291">
                <a:solidFill>
                  <a:schemeClr val="tx1">
                    <a:tint val="75000"/>
                  </a:schemeClr>
                </a:solidFill>
              </a:defRPr>
            </a:lvl4pPr>
            <a:lvl5pPr marL="1688112" indent="0">
              <a:buNone/>
              <a:defRPr sz="1291">
                <a:solidFill>
                  <a:schemeClr val="tx1">
                    <a:tint val="75000"/>
                  </a:schemeClr>
                </a:solidFill>
              </a:defRPr>
            </a:lvl5pPr>
            <a:lvl6pPr marL="2110142" indent="0">
              <a:buNone/>
              <a:defRPr sz="1291">
                <a:solidFill>
                  <a:schemeClr val="tx1">
                    <a:tint val="75000"/>
                  </a:schemeClr>
                </a:solidFill>
              </a:defRPr>
            </a:lvl6pPr>
            <a:lvl7pPr marL="2532170" indent="0">
              <a:buNone/>
              <a:defRPr sz="1291">
                <a:solidFill>
                  <a:schemeClr val="tx1">
                    <a:tint val="75000"/>
                  </a:schemeClr>
                </a:solidFill>
              </a:defRPr>
            </a:lvl7pPr>
            <a:lvl8pPr marL="2954199" indent="0">
              <a:buNone/>
              <a:defRPr sz="1291">
                <a:solidFill>
                  <a:schemeClr val="tx1">
                    <a:tint val="75000"/>
                  </a:schemeClr>
                </a:solidFill>
              </a:defRPr>
            </a:lvl8pPr>
            <a:lvl9pPr marL="3376226" indent="0">
              <a:buNone/>
              <a:defRPr sz="1291">
                <a:solidFill>
                  <a:schemeClr val="tx1">
                    <a:tint val="75000"/>
                  </a:schemeClr>
                </a:solidFill>
              </a:defRPr>
            </a:lvl9pPr>
          </a:lstStyle>
          <a:p>
            <a:pPr lvl="0"/>
            <a:r>
              <a:rPr lang="ja-JP" altLang="en-US" dirty="0"/>
              <a:t>章の説明</a:t>
            </a:r>
          </a:p>
        </p:txBody>
      </p:sp>
      <p:sp>
        <p:nvSpPr>
          <p:cNvPr id="8" name="スライド番号プレースホルダ 13">
            <a:extLst>
              <a:ext uri="{FF2B5EF4-FFF2-40B4-BE49-F238E27FC236}">
                <a16:creationId xmlns:a16="http://schemas.microsoft.com/office/drawing/2014/main" id="{547FA863-7A7D-4F05-9005-0B918C1D25D2}"/>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spTree>
    <p:extLst>
      <p:ext uri="{BB962C8B-B14F-4D97-AF65-F5344CB8AC3E}">
        <p14:creationId xmlns:p14="http://schemas.microsoft.com/office/powerpoint/2010/main" val="10667490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ポイント３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2757770798"/>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374496" y="402472"/>
            <a:ext cx="8395015" cy="779116"/>
          </a:xfrm>
          <a:solidFill>
            <a:srgbClr val="E6F1FE"/>
          </a:solidFill>
        </p:spPr>
        <p:txBody>
          <a:bodyPr vert="horz" anchor="ctr"/>
          <a:lstStyle>
            <a:lvl1pPr algn="l">
              <a:defRPr sz="2200" b="1"/>
            </a:lvl1pPr>
          </a:lstStyle>
          <a:p>
            <a:r>
              <a:rPr lang="en-US" altLang="ja-JP" dirty="0"/>
              <a:t>Message line (in 1~2 lines) </a:t>
            </a:r>
            <a:endParaRPr lang="ja-JP" altLang="en-US" dirty="0"/>
          </a:p>
        </p:txBody>
      </p:sp>
      <p:sp>
        <p:nvSpPr>
          <p:cNvPr id="28" name="テキスト プレースホルダー 11">
            <a:extLst>
              <a:ext uri="{FF2B5EF4-FFF2-40B4-BE49-F238E27FC236}">
                <a16:creationId xmlns:a16="http://schemas.microsoft.com/office/drawing/2014/main" id="{4C4547D3-9F7B-452D-BFC8-AF003AD5EBD0}"/>
              </a:ext>
            </a:extLst>
          </p:cNvPr>
          <p:cNvSpPr>
            <a:spLocks noGrp="1"/>
          </p:cNvSpPr>
          <p:nvPr>
            <p:ph type="body" sz="quarter" idx="13" hasCustomPrompt="1"/>
          </p:nvPr>
        </p:nvSpPr>
        <p:spPr>
          <a:xfrm>
            <a:off x="374493" y="72009"/>
            <a:ext cx="2253292" cy="332656"/>
          </a:xfrm>
        </p:spPr>
        <p:txBody>
          <a:bodyPr/>
          <a:lstStyle>
            <a:lvl1pPr marL="0" indent="0">
              <a:buNone/>
              <a:defRPr sz="1400"/>
            </a:lvl1pPr>
          </a:lstStyle>
          <a:p>
            <a:pPr lvl="0"/>
            <a:r>
              <a:rPr kumimoji="1" lang="en-US" altLang="ja-JP" dirty="0"/>
              <a:t>Chapter</a:t>
            </a:r>
            <a:endParaRPr kumimoji="1" lang="ja-JP" altLang="en-US" dirty="0"/>
          </a:p>
        </p:txBody>
      </p:sp>
      <p:sp>
        <p:nvSpPr>
          <p:cNvPr id="32" name="スライド番号プレースホルダ 13">
            <a:extLst>
              <a:ext uri="{FF2B5EF4-FFF2-40B4-BE49-F238E27FC236}">
                <a16:creationId xmlns:a16="http://schemas.microsoft.com/office/drawing/2014/main" id="{7B874DDE-B9E0-420D-8E16-E322FD304BF3}"/>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30" name="テキスト プレースホルダー 6">
            <a:extLst>
              <a:ext uri="{FF2B5EF4-FFF2-40B4-BE49-F238E27FC236}">
                <a16:creationId xmlns:a16="http://schemas.microsoft.com/office/drawing/2014/main" id="{1AE4D7F5-706C-4381-A9FD-71F91086F2B2}"/>
              </a:ext>
            </a:extLst>
          </p:cNvPr>
          <p:cNvSpPr>
            <a:spLocks noGrp="1"/>
          </p:cNvSpPr>
          <p:nvPr>
            <p:ph type="body" sz="quarter" idx="21" hasCustomPrompt="1"/>
          </p:nvPr>
        </p:nvSpPr>
        <p:spPr>
          <a:xfrm>
            <a:off x="374492" y="1494054"/>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en-US" altLang="ja-JP" dirty="0"/>
              <a:t>Point 1</a:t>
            </a:r>
            <a:endParaRPr kumimoji="1" lang="ja-JP" altLang="en-US" dirty="0"/>
          </a:p>
        </p:txBody>
      </p:sp>
      <p:sp>
        <p:nvSpPr>
          <p:cNvPr id="33" name="テキスト プレースホルダー 6">
            <a:extLst>
              <a:ext uri="{FF2B5EF4-FFF2-40B4-BE49-F238E27FC236}">
                <a16:creationId xmlns:a16="http://schemas.microsoft.com/office/drawing/2014/main" id="{1CE891EF-0161-4D0E-A2B4-C445302247CC}"/>
              </a:ext>
            </a:extLst>
          </p:cNvPr>
          <p:cNvSpPr>
            <a:spLocks noGrp="1"/>
          </p:cNvSpPr>
          <p:nvPr>
            <p:ph type="body" sz="quarter" idx="23" hasCustomPrompt="1"/>
          </p:nvPr>
        </p:nvSpPr>
        <p:spPr>
          <a:xfrm>
            <a:off x="374492" y="3007265"/>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en-US" altLang="ja-JP" dirty="0"/>
              <a:t>Point 2</a:t>
            </a:r>
            <a:endParaRPr kumimoji="1" lang="ja-JP" altLang="en-US" dirty="0"/>
          </a:p>
        </p:txBody>
      </p:sp>
      <p:sp>
        <p:nvSpPr>
          <p:cNvPr id="35" name="テキスト プレースホルダー 6">
            <a:extLst>
              <a:ext uri="{FF2B5EF4-FFF2-40B4-BE49-F238E27FC236}">
                <a16:creationId xmlns:a16="http://schemas.microsoft.com/office/drawing/2014/main" id="{D5290A1F-C5C4-463C-9FC5-EC0AABC3B32F}"/>
              </a:ext>
            </a:extLst>
          </p:cNvPr>
          <p:cNvSpPr>
            <a:spLocks noGrp="1"/>
          </p:cNvSpPr>
          <p:nvPr>
            <p:ph type="body" sz="quarter" idx="25" hasCustomPrompt="1"/>
          </p:nvPr>
        </p:nvSpPr>
        <p:spPr>
          <a:xfrm>
            <a:off x="374492" y="4520477"/>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en-US" altLang="ja-JP" dirty="0"/>
              <a:t>Point 3</a:t>
            </a:r>
            <a:endParaRPr kumimoji="1" lang="ja-JP" altLang="en-US" dirty="0"/>
          </a:p>
        </p:txBody>
      </p:sp>
      <p:sp>
        <p:nvSpPr>
          <p:cNvPr id="36" name="テキスト プレースホルダー 21">
            <a:extLst>
              <a:ext uri="{FF2B5EF4-FFF2-40B4-BE49-F238E27FC236}">
                <a16:creationId xmlns:a16="http://schemas.microsoft.com/office/drawing/2014/main" id="{55CD5FDB-66BA-414E-B0C7-65F3EBBA2693}"/>
              </a:ext>
            </a:extLst>
          </p:cNvPr>
          <p:cNvSpPr>
            <a:spLocks noGrp="1"/>
          </p:cNvSpPr>
          <p:nvPr>
            <p:ph type="body" sz="quarter" idx="15" hasCustomPrompt="1"/>
          </p:nvPr>
        </p:nvSpPr>
        <p:spPr>
          <a:xfrm>
            <a:off x="374496" y="6028469"/>
            <a:ext cx="8395015" cy="234148"/>
          </a:xfrm>
        </p:spPr>
        <p:txBody>
          <a:bodyPr anchor="b"/>
          <a:lstStyle>
            <a:lvl1pPr marL="0" indent="0">
              <a:buNone/>
              <a:defRPr sz="1100"/>
            </a:lvl1pPr>
            <a:lvl2pPr>
              <a:defRPr sz="923"/>
            </a:lvl2pPr>
            <a:lvl3pPr>
              <a:defRPr sz="923"/>
            </a:lvl3pPr>
            <a:lvl4pPr>
              <a:defRPr sz="923"/>
            </a:lvl4pPr>
            <a:lvl5pPr>
              <a:defRPr sz="923"/>
            </a:lvl5pPr>
          </a:lstStyle>
          <a:p>
            <a:pPr lvl="0"/>
            <a:r>
              <a:rPr kumimoji="1" lang="en-US" altLang="ja-JP" dirty="0"/>
              <a:t>Footnote: 1. </a:t>
            </a:r>
            <a:r>
              <a:rPr kumimoji="1" lang="en-US" altLang="ja-JP" dirty="0" err="1"/>
              <a:t>xxxxx</a:t>
            </a:r>
            <a:r>
              <a:rPr kumimoji="1" lang="ja-JP" altLang="en-US" dirty="0"/>
              <a:t>、</a:t>
            </a:r>
            <a:r>
              <a:rPr kumimoji="1" lang="en-US" altLang="ja-JP" dirty="0"/>
              <a:t>2. YYYYY</a:t>
            </a:r>
            <a:endParaRPr kumimoji="1" lang="ja-JP" altLang="en-US" dirty="0"/>
          </a:p>
        </p:txBody>
      </p:sp>
      <p:sp>
        <p:nvSpPr>
          <p:cNvPr id="37" name="テキスト プレースホルダー 24">
            <a:extLst>
              <a:ext uri="{FF2B5EF4-FFF2-40B4-BE49-F238E27FC236}">
                <a16:creationId xmlns:a16="http://schemas.microsoft.com/office/drawing/2014/main" id="{BA1C853B-808C-493C-9C12-A91C8C77858D}"/>
              </a:ext>
            </a:extLst>
          </p:cNvPr>
          <p:cNvSpPr>
            <a:spLocks noGrp="1"/>
          </p:cNvSpPr>
          <p:nvPr>
            <p:ph type="body" sz="quarter" idx="18" hasCustomPrompt="1"/>
          </p:nvPr>
        </p:nvSpPr>
        <p:spPr>
          <a:xfrm>
            <a:off x="374496" y="6274066"/>
            <a:ext cx="8395015" cy="237493"/>
          </a:xfrm>
        </p:spPr>
        <p:txBody>
          <a:bodyPr anchor="b"/>
          <a:lstStyle>
            <a:lvl1pPr marL="0" indent="0">
              <a:buNone/>
              <a:defRPr sz="1100"/>
            </a:lvl1pPr>
            <a:lvl2pPr>
              <a:defRPr sz="923"/>
            </a:lvl2pPr>
            <a:lvl3pPr>
              <a:defRPr sz="923"/>
            </a:lvl3pPr>
            <a:lvl4pPr>
              <a:defRPr sz="923"/>
            </a:lvl4pPr>
            <a:lvl5pPr>
              <a:defRPr sz="923"/>
            </a:lvl5pPr>
          </a:lstStyle>
          <a:p>
            <a:pPr lvl="0"/>
            <a:r>
              <a:rPr kumimoji="1" lang="en-US" altLang="ja-JP" dirty="0"/>
              <a:t>Source: ZZZZZ</a:t>
            </a:r>
            <a:endParaRPr kumimoji="1" lang="ja-JP" altLang="en-US" dirty="0"/>
          </a:p>
        </p:txBody>
      </p:sp>
      <p:sp>
        <p:nvSpPr>
          <p:cNvPr id="15" name="テキスト プレースホルダー 6">
            <a:extLst>
              <a:ext uri="{FF2B5EF4-FFF2-40B4-BE49-F238E27FC236}">
                <a16:creationId xmlns:a16="http://schemas.microsoft.com/office/drawing/2014/main" id="{47EC81C4-51B7-4EEF-8DE8-49D877B4D5EC}"/>
              </a:ext>
            </a:extLst>
          </p:cNvPr>
          <p:cNvSpPr>
            <a:spLocks noGrp="1"/>
          </p:cNvSpPr>
          <p:nvPr>
            <p:ph type="body" sz="quarter" idx="20"/>
          </p:nvPr>
        </p:nvSpPr>
        <p:spPr>
          <a:xfrm>
            <a:off x="1763689" y="1494054"/>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16" name="テキスト プレースホルダー 6">
            <a:extLst>
              <a:ext uri="{FF2B5EF4-FFF2-40B4-BE49-F238E27FC236}">
                <a16:creationId xmlns:a16="http://schemas.microsoft.com/office/drawing/2014/main" id="{3ABBCA73-9ACD-4D28-A057-5A8E4DBBA23D}"/>
              </a:ext>
            </a:extLst>
          </p:cNvPr>
          <p:cNvSpPr>
            <a:spLocks noGrp="1"/>
          </p:cNvSpPr>
          <p:nvPr>
            <p:ph type="body" sz="quarter" idx="22"/>
          </p:nvPr>
        </p:nvSpPr>
        <p:spPr>
          <a:xfrm>
            <a:off x="1763689" y="2995822"/>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17" name="テキスト プレースホルダー 6">
            <a:extLst>
              <a:ext uri="{FF2B5EF4-FFF2-40B4-BE49-F238E27FC236}">
                <a16:creationId xmlns:a16="http://schemas.microsoft.com/office/drawing/2014/main" id="{8CBEE383-76D9-480F-8F7B-52C53081A67A}"/>
              </a:ext>
            </a:extLst>
          </p:cNvPr>
          <p:cNvSpPr>
            <a:spLocks noGrp="1"/>
          </p:cNvSpPr>
          <p:nvPr>
            <p:ph type="body" sz="quarter" idx="24"/>
          </p:nvPr>
        </p:nvSpPr>
        <p:spPr>
          <a:xfrm>
            <a:off x="1763689" y="4520477"/>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439173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図1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1284611086"/>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16" name="テキスト プレースホルダー 15">
            <a:extLst>
              <a:ext uri="{FF2B5EF4-FFF2-40B4-BE49-F238E27FC236}">
                <a16:creationId xmlns:a16="http://schemas.microsoft.com/office/drawing/2014/main" id="{DBB84BA7-E9EC-408F-B46A-3AF7828C65C2}"/>
              </a:ext>
            </a:extLst>
          </p:cNvPr>
          <p:cNvSpPr>
            <a:spLocks noGrp="1"/>
          </p:cNvSpPr>
          <p:nvPr>
            <p:ph type="body" sz="quarter" idx="14"/>
          </p:nvPr>
        </p:nvSpPr>
        <p:spPr>
          <a:xfrm>
            <a:off x="374495" y="1337832"/>
            <a:ext cx="2253291" cy="4559015"/>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a:lvl1pPr>
            <a:lvl2pPr>
              <a:defRPr lang="ja-JP" altLang="en-US" dirty="0"/>
            </a:lvl2pPr>
            <a:lvl3pPr>
              <a:defRPr lang="ja-JP" altLang="en-US" dirty="0"/>
            </a:lvl3pPr>
            <a:lvl4pPr>
              <a:defRPr lang="ja-JP" altLang="en-US" dirty="0"/>
            </a:lvl4pPr>
            <a:lvl5pPr>
              <a:defRPr lang="ja-JP" altLang="en-US" dirty="0"/>
            </a:lvl5pPr>
          </a:lstStyle>
          <a:p>
            <a:pPr lvl="0">
              <a:buClrTx/>
            </a:pPr>
            <a:r>
              <a:rPr kumimoji="1" lang="ja-JP" altLang="en-US" dirty="0"/>
              <a:t>マスター テキストの書式設定</a:t>
            </a:r>
          </a:p>
          <a:p>
            <a:pPr lvl="1">
              <a:buClrTx/>
            </a:pPr>
            <a:r>
              <a:rPr kumimoji="1" lang="ja-JP" altLang="en-US" dirty="0"/>
              <a:t>第 </a:t>
            </a:r>
            <a:r>
              <a:rPr kumimoji="1" lang="en-US" altLang="ja-JP" dirty="0"/>
              <a:t>2 </a:t>
            </a:r>
            <a:r>
              <a:rPr kumimoji="1" lang="ja-JP" altLang="en-US" dirty="0"/>
              <a:t>レベル</a:t>
            </a:r>
          </a:p>
          <a:p>
            <a:pPr lvl="2">
              <a:buClrTx/>
            </a:pPr>
            <a:r>
              <a:rPr kumimoji="1" lang="ja-JP" altLang="en-US" dirty="0"/>
              <a:t>第 </a:t>
            </a:r>
            <a:r>
              <a:rPr kumimoji="1" lang="en-US" altLang="ja-JP" dirty="0"/>
              <a:t>3 </a:t>
            </a:r>
            <a:r>
              <a:rPr kumimoji="1" lang="ja-JP" altLang="en-US" dirty="0"/>
              <a:t>レベル</a:t>
            </a:r>
          </a:p>
          <a:p>
            <a:pPr lvl="3">
              <a:buClrTx/>
            </a:pPr>
            <a:r>
              <a:rPr kumimoji="1" lang="ja-JP" altLang="en-US" dirty="0"/>
              <a:t>第 </a:t>
            </a:r>
            <a:r>
              <a:rPr kumimoji="1" lang="en-US" altLang="ja-JP" dirty="0"/>
              <a:t>4 </a:t>
            </a:r>
            <a:r>
              <a:rPr kumimoji="1" lang="ja-JP" altLang="en-US" dirty="0"/>
              <a:t>レベル</a:t>
            </a:r>
          </a:p>
          <a:p>
            <a:pPr lvl="4">
              <a:buClrTx/>
            </a:pPr>
            <a:r>
              <a:rPr kumimoji="1" lang="ja-JP" altLang="en-US" dirty="0"/>
              <a:t>第 </a:t>
            </a:r>
            <a:r>
              <a:rPr kumimoji="1" lang="en-US" altLang="ja-JP" dirty="0"/>
              <a:t>5 </a:t>
            </a:r>
            <a:r>
              <a:rPr kumimoji="1" lang="ja-JP" altLang="en-US" dirty="0"/>
              <a:t>レベル</a:t>
            </a:r>
          </a:p>
        </p:txBody>
      </p:sp>
      <p:sp>
        <p:nvSpPr>
          <p:cNvPr id="17" name="テキスト プレースホルダー 21">
            <a:extLst>
              <a:ext uri="{FF2B5EF4-FFF2-40B4-BE49-F238E27FC236}">
                <a16:creationId xmlns:a16="http://schemas.microsoft.com/office/drawing/2014/main" id="{6A1A729C-3617-444A-92E8-AFFD60FC6696}"/>
              </a:ext>
            </a:extLst>
          </p:cNvPr>
          <p:cNvSpPr>
            <a:spLocks noGrp="1"/>
          </p:cNvSpPr>
          <p:nvPr>
            <p:ph type="body" sz="quarter" idx="18" hasCustomPrompt="1"/>
          </p:nvPr>
        </p:nvSpPr>
        <p:spPr>
          <a:xfrm>
            <a:off x="2771777" y="1337832"/>
            <a:ext cx="5997732" cy="308542"/>
          </a:xfrm>
        </p:spPr>
        <p:txBody>
          <a:bodyPr/>
          <a:lstStyle>
            <a:lvl1pPr marL="0" indent="0">
              <a:buNone/>
              <a:defRPr sz="1600" b="1"/>
            </a:lvl1pPr>
            <a:lvl2pPr>
              <a:defRPr sz="923"/>
            </a:lvl2pPr>
            <a:lvl3pPr>
              <a:defRPr sz="923"/>
            </a:lvl3pPr>
            <a:lvl4pPr>
              <a:defRPr sz="923"/>
            </a:lvl4pPr>
            <a:lvl5pPr>
              <a:defRPr sz="923"/>
            </a:lvl5pPr>
          </a:lstStyle>
          <a:p>
            <a:pPr lvl="0"/>
            <a:r>
              <a:rPr kumimoji="1" lang="en-US" altLang="ja-JP" dirty="0"/>
              <a:t>Image title</a:t>
            </a:r>
            <a:r>
              <a:rPr kumimoji="1" lang="ja-JP" altLang="en-US" dirty="0"/>
              <a:t> </a:t>
            </a:r>
            <a:r>
              <a:rPr kumimoji="1" lang="en-US" altLang="ja-JP" dirty="0"/>
              <a:t>(underline below)</a:t>
            </a:r>
            <a:endParaRPr kumimoji="1" lang="ja-JP" altLang="en-US" dirty="0"/>
          </a:p>
        </p:txBody>
      </p:sp>
      <p:sp>
        <p:nvSpPr>
          <p:cNvPr id="19" name="コンテンツ プレースホルダー 18">
            <a:extLst>
              <a:ext uri="{FF2B5EF4-FFF2-40B4-BE49-F238E27FC236}">
                <a16:creationId xmlns:a16="http://schemas.microsoft.com/office/drawing/2014/main" id="{6F7A155E-865F-4A38-BFA7-C7D4CB232D45}"/>
              </a:ext>
            </a:extLst>
          </p:cNvPr>
          <p:cNvSpPr>
            <a:spLocks noGrp="1"/>
          </p:cNvSpPr>
          <p:nvPr>
            <p:ph sz="quarter" idx="20" hasCustomPrompt="1"/>
          </p:nvPr>
        </p:nvSpPr>
        <p:spPr>
          <a:xfrm>
            <a:off x="2771780" y="1778002"/>
            <a:ext cx="5997731" cy="4118851"/>
          </a:xfrm>
        </p:spPr>
        <p:txBody>
          <a:bodyPr/>
          <a:lstStyle>
            <a:lvl1pPr marL="0" indent="0">
              <a:buNone/>
              <a:defRPr/>
            </a:lvl1pPr>
          </a:lstStyle>
          <a:p>
            <a:pPr lvl="0"/>
            <a:r>
              <a:rPr kumimoji="1" lang="ja-JP" altLang="en-US" dirty="0"/>
              <a:t>図表の挿入箇所</a:t>
            </a:r>
          </a:p>
        </p:txBody>
      </p:sp>
      <p:sp>
        <p:nvSpPr>
          <p:cNvPr id="12" name="テキスト プレースホルダー 11">
            <a:extLst>
              <a:ext uri="{FF2B5EF4-FFF2-40B4-BE49-F238E27FC236}">
                <a16:creationId xmlns:a16="http://schemas.microsoft.com/office/drawing/2014/main" id="{676A0F88-5B0C-4051-B488-D4DC7997C455}"/>
              </a:ext>
            </a:extLst>
          </p:cNvPr>
          <p:cNvSpPr>
            <a:spLocks noGrp="1"/>
          </p:cNvSpPr>
          <p:nvPr>
            <p:ph type="body" sz="quarter" idx="13" hasCustomPrompt="1"/>
          </p:nvPr>
        </p:nvSpPr>
        <p:spPr>
          <a:xfrm>
            <a:off x="374493" y="72009"/>
            <a:ext cx="2253292" cy="332656"/>
          </a:xfrm>
        </p:spPr>
        <p:txBody>
          <a:bodyPr/>
          <a:lstStyle>
            <a:lvl1pPr marL="0" indent="0">
              <a:buNone/>
              <a:defRPr sz="1400"/>
            </a:lvl1pPr>
          </a:lstStyle>
          <a:p>
            <a:pPr lvl="0"/>
            <a:r>
              <a:rPr kumimoji="1" lang="en-US" altLang="ja-JP" dirty="0"/>
              <a:t>Chapter</a:t>
            </a:r>
            <a:endParaRPr kumimoji="1" lang="ja-JP" altLang="en-US" dirty="0"/>
          </a:p>
        </p:txBody>
      </p:sp>
      <p:sp>
        <p:nvSpPr>
          <p:cNvPr id="14" name="スライド番号プレースホルダ 13">
            <a:extLst>
              <a:ext uri="{FF2B5EF4-FFF2-40B4-BE49-F238E27FC236}">
                <a16:creationId xmlns:a16="http://schemas.microsoft.com/office/drawing/2014/main" id="{41E90245-38D7-4084-B8AC-E4E760241B62}"/>
              </a:ext>
            </a:extLst>
          </p:cNvPr>
          <p:cNvSpPr txBox="1">
            <a:spLocks/>
          </p:cNvSpPr>
          <p:nvPr userDrawn="1"/>
        </p:nvSpPr>
        <p:spPr>
          <a:xfrm>
            <a:off x="4330414" y="6560395"/>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lgn="ctr"/>
            <a:fld id="{BEE7E999-D39D-4DC4-8260-5547312FA60C}" type="slidenum">
              <a:rPr lang="en-US" altLang="ja-JP" sz="1416" b="0" smtClean="0">
                <a:solidFill>
                  <a:schemeClr val="bg1"/>
                </a:solidFill>
              </a:rPr>
              <a:pPr lvl="0" algn="ctr"/>
              <a:t>‹#›</a:t>
            </a:fld>
            <a:endParaRPr lang="en-US" sz="1416" b="0" dirty="0">
              <a:solidFill>
                <a:schemeClr val="bg1"/>
              </a:solidFill>
            </a:endParaRPr>
          </a:p>
        </p:txBody>
      </p:sp>
      <p:sp>
        <p:nvSpPr>
          <p:cNvPr id="28" name="タイトル 1">
            <a:extLst>
              <a:ext uri="{FF2B5EF4-FFF2-40B4-BE49-F238E27FC236}">
                <a16:creationId xmlns:a16="http://schemas.microsoft.com/office/drawing/2014/main" id="{D0CBD57C-5217-4F3E-8E9E-BF4925ED5D47}"/>
              </a:ext>
            </a:extLst>
          </p:cNvPr>
          <p:cNvSpPr>
            <a:spLocks noGrp="1"/>
          </p:cNvSpPr>
          <p:nvPr>
            <p:ph type="title" hasCustomPrompt="1"/>
          </p:nvPr>
        </p:nvSpPr>
        <p:spPr>
          <a:xfrm>
            <a:off x="374496" y="402472"/>
            <a:ext cx="8395015" cy="779116"/>
          </a:xfrm>
          <a:solidFill>
            <a:srgbClr val="E6F1FE"/>
          </a:solidFill>
        </p:spPr>
        <p:txBody>
          <a:bodyPr vert="horz" anchor="ctr"/>
          <a:lstStyle>
            <a:lvl1pPr algn="l">
              <a:defRPr sz="2200" b="1"/>
            </a:lvl1pPr>
          </a:lstStyle>
          <a:p>
            <a:r>
              <a:rPr lang="en-US" altLang="ja-JP" dirty="0"/>
              <a:t>Message line (in 1~2 lines) </a:t>
            </a:r>
            <a:endParaRPr lang="ja-JP" altLang="en-US" dirty="0"/>
          </a:p>
        </p:txBody>
      </p:sp>
      <p:sp>
        <p:nvSpPr>
          <p:cNvPr id="31" name="テキスト プレースホルダー 21">
            <a:extLst>
              <a:ext uri="{FF2B5EF4-FFF2-40B4-BE49-F238E27FC236}">
                <a16:creationId xmlns:a16="http://schemas.microsoft.com/office/drawing/2014/main" id="{10946034-B887-4CB8-9B28-0F6CD5BA9E04}"/>
              </a:ext>
            </a:extLst>
          </p:cNvPr>
          <p:cNvSpPr>
            <a:spLocks noGrp="1"/>
          </p:cNvSpPr>
          <p:nvPr>
            <p:ph type="body" sz="quarter" idx="15" hasCustomPrompt="1"/>
          </p:nvPr>
        </p:nvSpPr>
        <p:spPr>
          <a:xfrm>
            <a:off x="374496" y="6028469"/>
            <a:ext cx="8395015" cy="234148"/>
          </a:xfrm>
        </p:spPr>
        <p:txBody>
          <a:bodyPr anchor="b"/>
          <a:lstStyle>
            <a:lvl1pPr marL="0" indent="0">
              <a:buNone/>
              <a:defRPr sz="1100"/>
            </a:lvl1pPr>
            <a:lvl2pPr>
              <a:defRPr sz="923"/>
            </a:lvl2pPr>
            <a:lvl3pPr>
              <a:defRPr sz="923"/>
            </a:lvl3pPr>
            <a:lvl4pPr>
              <a:defRPr sz="923"/>
            </a:lvl4pPr>
            <a:lvl5pPr>
              <a:defRPr sz="923"/>
            </a:lvl5pPr>
          </a:lstStyle>
          <a:p>
            <a:pPr lvl="0"/>
            <a:r>
              <a:rPr kumimoji="1" lang="en-US" altLang="ja-JP" dirty="0"/>
              <a:t>Footnote: 1. </a:t>
            </a:r>
            <a:r>
              <a:rPr kumimoji="1" lang="en-US" altLang="ja-JP" dirty="0" err="1"/>
              <a:t>xxxxx</a:t>
            </a:r>
            <a:r>
              <a:rPr kumimoji="1" lang="ja-JP" altLang="en-US" dirty="0"/>
              <a:t>、</a:t>
            </a:r>
            <a:r>
              <a:rPr kumimoji="1" lang="en-US" altLang="ja-JP" dirty="0"/>
              <a:t>2. YYYYY</a:t>
            </a:r>
            <a:endParaRPr kumimoji="1" lang="ja-JP" altLang="en-US" dirty="0"/>
          </a:p>
        </p:txBody>
      </p:sp>
      <p:sp>
        <p:nvSpPr>
          <p:cNvPr id="32" name="テキスト プレースホルダー 24">
            <a:extLst>
              <a:ext uri="{FF2B5EF4-FFF2-40B4-BE49-F238E27FC236}">
                <a16:creationId xmlns:a16="http://schemas.microsoft.com/office/drawing/2014/main" id="{DEBDDFB6-57D7-4D16-985C-D81E66E2EFCF}"/>
              </a:ext>
            </a:extLst>
          </p:cNvPr>
          <p:cNvSpPr>
            <a:spLocks noGrp="1"/>
          </p:cNvSpPr>
          <p:nvPr>
            <p:ph type="body" sz="quarter" idx="21" hasCustomPrompt="1"/>
          </p:nvPr>
        </p:nvSpPr>
        <p:spPr>
          <a:xfrm>
            <a:off x="374496" y="6274066"/>
            <a:ext cx="8395015" cy="237493"/>
          </a:xfrm>
        </p:spPr>
        <p:txBody>
          <a:bodyPr anchor="b"/>
          <a:lstStyle>
            <a:lvl1pPr marL="0" indent="0">
              <a:buNone/>
              <a:defRPr sz="1100"/>
            </a:lvl1pPr>
            <a:lvl2pPr>
              <a:defRPr sz="923"/>
            </a:lvl2pPr>
            <a:lvl3pPr>
              <a:defRPr sz="923"/>
            </a:lvl3pPr>
            <a:lvl4pPr>
              <a:defRPr sz="923"/>
            </a:lvl4pPr>
            <a:lvl5pPr>
              <a:defRPr sz="923"/>
            </a:lvl5pPr>
          </a:lstStyle>
          <a:p>
            <a:pPr lvl="0"/>
            <a:r>
              <a:rPr kumimoji="1" lang="en-US" altLang="ja-JP" dirty="0"/>
              <a:t>Source: ZZZZZ</a:t>
            </a:r>
            <a:endParaRPr kumimoji="1" lang="ja-JP" altLang="en-US" dirty="0"/>
          </a:p>
        </p:txBody>
      </p:sp>
    </p:spTree>
    <p:extLst>
      <p:ext uri="{BB962C8B-B14F-4D97-AF65-F5344CB8AC3E}">
        <p14:creationId xmlns:p14="http://schemas.microsoft.com/office/powerpoint/2010/main" val="516068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メッセージ＋本文">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63496755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374496" y="332656"/>
            <a:ext cx="8395015" cy="779116"/>
          </a:xfrm>
          <a:noFill/>
        </p:spPr>
        <p:txBody>
          <a:bodyPr vert="horz" lIns="36000" anchor="ctr"/>
          <a:lstStyle>
            <a:lvl1pPr algn="l">
              <a:defRPr sz="2200" b="1"/>
            </a:lvl1pPr>
          </a:lstStyle>
          <a:p>
            <a:r>
              <a:rPr lang="ja-JP" altLang="en-US" dirty="0"/>
              <a:t>スライドタイトル</a:t>
            </a:r>
            <a:r>
              <a:rPr lang="en-US" altLang="ja-JP" dirty="0"/>
              <a:t>(1~2</a:t>
            </a:r>
            <a:r>
              <a:rPr lang="ja-JP" altLang="en-US" dirty="0"/>
              <a:t>行で記述</a:t>
            </a:r>
            <a:r>
              <a:rPr lang="en-US" altLang="ja-JP" dirty="0"/>
              <a:t>)2</a:t>
            </a:r>
            <a:endParaRPr lang="ja-JP" altLang="en-US" dirty="0"/>
          </a:p>
        </p:txBody>
      </p:sp>
      <p:sp>
        <p:nvSpPr>
          <p:cNvPr id="3" name="コンテンツ プレースホルダ 2"/>
          <p:cNvSpPr>
            <a:spLocks noGrp="1"/>
          </p:cNvSpPr>
          <p:nvPr>
            <p:ph idx="1" hasCustomPrompt="1"/>
          </p:nvPr>
        </p:nvSpPr>
        <p:spPr>
          <a:xfrm>
            <a:off x="374496" y="1273636"/>
            <a:ext cx="8395015" cy="1003236"/>
          </a:xfrm>
          <a:solidFill>
            <a:schemeClr val="accent2">
              <a:lumMod val="20000"/>
              <a:lumOff val="80000"/>
            </a:schemeClr>
          </a:solidFill>
        </p:spPr>
        <p:txBody>
          <a:bodyPr/>
          <a:lstStyle>
            <a:lvl1pPr>
              <a:buClrTx/>
              <a:defRPr sz="1600">
                <a:solidFill>
                  <a:schemeClr val="tx1"/>
                </a:solidFill>
              </a:defRPr>
            </a:lvl1pPr>
            <a:lvl2pPr>
              <a:buClrTx/>
              <a:defRPr sz="1600">
                <a:solidFill>
                  <a:schemeClr val="tx1"/>
                </a:solidFill>
              </a:defRPr>
            </a:lvl2pPr>
            <a:lvl3pPr>
              <a:buClrTx/>
              <a:defRPr sz="1600">
                <a:solidFill>
                  <a:schemeClr val="tx1"/>
                </a:solidFill>
              </a:defRPr>
            </a:lvl3pPr>
            <a:lvl4pPr>
              <a:buClrTx/>
              <a:defRPr sz="1600">
                <a:solidFill>
                  <a:schemeClr val="tx1"/>
                </a:solidFill>
              </a:defRPr>
            </a:lvl4pPr>
            <a:lvl5pPr>
              <a:buClrTx/>
              <a:defRPr sz="1600">
                <a:solidFill>
                  <a:schemeClr val="tx1"/>
                </a:solidFill>
              </a:defRPr>
            </a:lvl5pPr>
          </a:lstStyle>
          <a:p>
            <a:pPr lvl="0"/>
            <a:r>
              <a:rPr lang="ja-JP" altLang="en-US" dirty="0"/>
              <a:t>メッセージライン</a:t>
            </a:r>
            <a:r>
              <a:rPr lang="en-US" altLang="ja-JP" dirty="0"/>
              <a:t>(</a:t>
            </a:r>
            <a:r>
              <a:rPr lang="ja-JP" altLang="en-US" dirty="0"/>
              <a:t>３行以内でスライドの要点を簡潔に記載</a:t>
            </a:r>
            <a:r>
              <a:rPr lang="en-US" altLang="ja-JP" dirty="0"/>
              <a:t>)</a:t>
            </a:r>
            <a:endParaRPr lang="ja-JP" altLang="en-US" dirty="0"/>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6" name="テキスト プレースホルダー 15">
            <a:extLst>
              <a:ext uri="{FF2B5EF4-FFF2-40B4-BE49-F238E27FC236}">
                <a16:creationId xmlns:a16="http://schemas.microsoft.com/office/drawing/2014/main" id="{DBB84BA7-E9EC-408F-B46A-3AF7828C65C2}"/>
              </a:ext>
            </a:extLst>
          </p:cNvPr>
          <p:cNvSpPr>
            <a:spLocks noGrp="1"/>
          </p:cNvSpPr>
          <p:nvPr>
            <p:ph type="body" sz="quarter" idx="14"/>
          </p:nvPr>
        </p:nvSpPr>
        <p:spPr>
          <a:xfrm>
            <a:off x="374496" y="2487947"/>
            <a:ext cx="8395015" cy="367736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a:t>マスター テキストの書式設定</a:t>
            </a:r>
          </a:p>
          <a:p>
            <a:pPr lvl="1">
              <a:buClrTx/>
            </a:pPr>
            <a:r>
              <a:rPr kumimoji="1" lang="ja-JP" altLang="en-US"/>
              <a:t>第 </a:t>
            </a:r>
            <a:r>
              <a:rPr kumimoji="1" lang="en-US" altLang="ja-JP"/>
              <a:t>2 </a:t>
            </a:r>
            <a:r>
              <a:rPr kumimoji="1" lang="ja-JP" altLang="en-US"/>
              <a:t>レベル</a:t>
            </a:r>
          </a:p>
          <a:p>
            <a:pPr lvl="2">
              <a:buClrTx/>
            </a:pPr>
            <a:r>
              <a:rPr kumimoji="1" lang="ja-JP" altLang="en-US"/>
              <a:t>第 </a:t>
            </a:r>
            <a:r>
              <a:rPr kumimoji="1" lang="en-US" altLang="ja-JP"/>
              <a:t>3 </a:t>
            </a:r>
            <a:r>
              <a:rPr kumimoji="1" lang="ja-JP" altLang="en-US"/>
              <a:t>レベル</a:t>
            </a:r>
          </a:p>
          <a:p>
            <a:pPr lvl="3">
              <a:buClrTx/>
            </a:pPr>
            <a:r>
              <a:rPr kumimoji="1" lang="ja-JP" altLang="en-US"/>
              <a:t>第 </a:t>
            </a:r>
            <a:r>
              <a:rPr kumimoji="1" lang="en-US" altLang="ja-JP"/>
              <a:t>4 </a:t>
            </a:r>
            <a:r>
              <a:rPr kumimoji="1" lang="ja-JP" altLang="en-US"/>
              <a:t>レベル</a:t>
            </a:r>
          </a:p>
          <a:p>
            <a:pPr lvl="4">
              <a:buClrTx/>
            </a:pPr>
            <a:r>
              <a:rPr kumimoji="1" lang="ja-JP" altLang="en-US"/>
              <a:t>第 </a:t>
            </a:r>
            <a:r>
              <a:rPr kumimoji="1" lang="en-US" altLang="ja-JP"/>
              <a:t>5 </a:t>
            </a:r>
            <a:r>
              <a:rPr kumimoji="1" lang="ja-JP" altLang="en-US"/>
              <a:t>レベル</a:t>
            </a:r>
            <a:endParaRPr kumimoji="1" lang="ja-JP" altLang="en-US" dirty="0"/>
          </a:p>
        </p:txBody>
      </p:sp>
      <p:sp>
        <p:nvSpPr>
          <p:cNvPr id="27" name="テキスト プレースホルダー 24">
            <a:extLst>
              <a:ext uri="{FF2B5EF4-FFF2-40B4-BE49-F238E27FC236}">
                <a16:creationId xmlns:a16="http://schemas.microsoft.com/office/drawing/2014/main" id="{FBD886BD-EA26-4C38-B6C1-6183E7C05962}"/>
              </a:ext>
            </a:extLst>
          </p:cNvPr>
          <p:cNvSpPr>
            <a:spLocks noGrp="1"/>
          </p:cNvSpPr>
          <p:nvPr>
            <p:ph type="body" sz="quarter" idx="16" hasCustomPrompt="1"/>
          </p:nvPr>
        </p:nvSpPr>
        <p:spPr>
          <a:xfrm>
            <a:off x="1102990" y="6598225"/>
            <a:ext cx="7285439" cy="206105"/>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
        <p:nvSpPr>
          <p:cNvPr id="11" name="スライド番号プレースホルダ 13">
            <a:extLst>
              <a:ext uri="{FF2B5EF4-FFF2-40B4-BE49-F238E27FC236}">
                <a16:creationId xmlns:a16="http://schemas.microsoft.com/office/drawing/2014/main" id="{6C1633A3-41CC-4C11-8B3C-FED4B77DB9FC}"/>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pic>
        <p:nvPicPr>
          <p:cNvPr id="12" name="図 11" descr="タイプB中ページライン.png">
            <a:extLst>
              <a:ext uri="{FF2B5EF4-FFF2-40B4-BE49-F238E27FC236}">
                <a16:creationId xmlns:a16="http://schemas.microsoft.com/office/drawing/2014/main" id="{046A9D12-5B6A-4AEF-9FCC-0C8551F73D7B}"/>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テキスト プレースホルダー 21">
            <a:extLst>
              <a:ext uri="{FF2B5EF4-FFF2-40B4-BE49-F238E27FC236}">
                <a16:creationId xmlns:a16="http://schemas.microsoft.com/office/drawing/2014/main" id="{7B43D4A4-9D9D-4FCE-8540-8FD496759497}"/>
              </a:ext>
            </a:extLst>
          </p:cNvPr>
          <p:cNvSpPr>
            <a:spLocks noGrp="1"/>
          </p:cNvSpPr>
          <p:nvPr>
            <p:ph type="body" sz="quarter" idx="15" hasCustomPrompt="1"/>
          </p:nvPr>
        </p:nvSpPr>
        <p:spPr>
          <a:xfrm>
            <a:off x="374496" y="6245163"/>
            <a:ext cx="8395015" cy="280187"/>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17" name="テキスト プレースホルダー 8">
            <a:extLst>
              <a:ext uri="{FF2B5EF4-FFF2-40B4-BE49-F238E27FC236}">
                <a16:creationId xmlns:a16="http://schemas.microsoft.com/office/drawing/2014/main" id="{C199ABAD-6C84-420B-A409-F715B4346D69}"/>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ja-JP" altLang="en-US" dirty="0"/>
              <a:t>章見出し</a:t>
            </a:r>
          </a:p>
        </p:txBody>
      </p:sp>
    </p:spTree>
    <p:extLst>
      <p:ext uri="{BB962C8B-B14F-4D97-AF65-F5344CB8AC3E}">
        <p14:creationId xmlns:p14="http://schemas.microsoft.com/office/powerpoint/2010/main" val="2169882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ポイント３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3266057981"/>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13" name="スライド番号プレースホルダ 13">
            <a:extLst>
              <a:ext uri="{FF2B5EF4-FFF2-40B4-BE49-F238E27FC236}">
                <a16:creationId xmlns:a16="http://schemas.microsoft.com/office/drawing/2014/main" id="{14D28EC6-3632-4319-85EE-2C9F2B5BDE87}"/>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rtl="0" fontAlgn="base">
              <a:spcBef>
                <a:spcPct val="0"/>
              </a:spcBef>
              <a:spcAft>
                <a:spcPct val="0"/>
              </a:spcAft>
              <a:defRPr kumimoji="1" lang="ja-JP" altLang="en-US" sz="1150" kern="1200" smtClean="0">
                <a:solidFill>
                  <a:srgbClr val="7F7F7F"/>
                </a:solidFill>
                <a:latin typeface="Arial" charset="0"/>
                <a:ea typeface="ＭＳ Ｐゴシック" charset="-128"/>
                <a:cs typeface="+mn-cs"/>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fld id="{BEE7E999-D39D-4DC4-8260-5547312FA60C}" type="slidenum">
              <a:rPr lang="en-US" altLang="ja-JP" sz="1416" smtClean="0">
                <a:latin typeface="+mn-lt"/>
              </a:rPr>
              <a:pPr/>
              <a:t>‹#›</a:t>
            </a:fld>
            <a:endParaRPr lang="en-US" sz="1416" dirty="0">
              <a:latin typeface="+mn-lt"/>
            </a:endParaRPr>
          </a:p>
        </p:txBody>
      </p:sp>
      <p:pic>
        <p:nvPicPr>
          <p:cNvPr id="28" name="図 27" descr="タイプB中ページライン.png">
            <a:extLst>
              <a:ext uri="{FF2B5EF4-FFF2-40B4-BE49-F238E27FC236}">
                <a16:creationId xmlns:a16="http://schemas.microsoft.com/office/drawing/2014/main" id="{3DD57C3D-8FB1-43CD-BD12-B070CC81835A}"/>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テキスト プレースホルダー 6">
            <a:extLst>
              <a:ext uri="{FF2B5EF4-FFF2-40B4-BE49-F238E27FC236}">
                <a16:creationId xmlns:a16="http://schemas.microsoft.com/office/drawing/2014/main" id="{F4BBFA92-AB5D-461D-9BF8-3A11248E1568}"/>
              </a:ext>
            </a:extLst>
          </p:cNvPr>
          <p:cNvSpPr>
            <a:spLocks noGrp="1"/>
          </p:cNvSpPr>
          <p:nvPr>
            <p:ph type="body" sz="quarter" idx="20"/>
          </p:nvPr>
        </p:nvSpPr>
        <p:spPr>
          <a:xfrm>
            <a:off x="1763689" y="1494054"/>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a:t>マスター テキストの書式設定</a:t>
            </a:r>
          </a:p>
          <a:p>
            <a:pPr lvl="1">
              <a:buClrTx/>
            </a:pPr>
            <a:r>
              <a:rPr kumimoji="1" lang="ja-JP" altLang="en-US"/>
              <a:t>第 </a:t>
            </a:r>
            <a:r>
              <a:rPr kumimoji="1" lang="en-US" altLang="ja-JP"/>
              <a:t>2 </a:t>
            </a:r>
            <a:r>
              <a:rPr kumimoji="1" lang="ja-JP" altLang="en-US"/>
              <a:t>レベル</a:t>
            </a:r>
          </a:p>
          <a:p>
            <a:pPr lvl="2">
              <a:buClrTx/>
            </a:pPr>
            <a:r>
              <a:rPr kumimoji="1" lang="ja-JP" altLang="en-US"/>
              <a:t>第 </a:t>
            </a:r>
            <a:r>
              <a:rPr kumimoji="1" lang="en-US" altLang="ja-JP"/>
              <a:t>3 </a:t>
            </a:r>
            <a:r>
              <a:rPr kumimoji="1" lang="ja-JP" altLang="en-US"/>
              <a:t>レベル</a:t>
            </a:r>
          </a:p>
          <a:p>
            <a:pPr lvl="3">
              <a:buClrTx/>
            </a:pPr>
            <a:r>
              <a:rPr kumimoji="1" lang="ja-JP" altLang="en-US"/>
              <a:t>第 </a:t>
            </a:r>
            <a:r>
              <a:rPr kumimoji="1" lang="en-US" altLang="ja-JP"/>
              <a:t>4 </a:t>
            </a:r>
            <a:r>
              <a:rPr kumimoji="1" lang="ja-JP" altLang="en-US"/>
              <a:t>レベル</a:t>
            </a:r>
          </a:p>
          <a:p>
            <a:pPr lvl="4">
              <a:buClrTx/>
            </a:pPr>
            <a:r>
              <a:rPr kumimoji="1" lang="ja-JP" altLang="en-US"/>
              <a:t>第 </a:t>
            </a:r>
            <a:r>
              <a:rPr kumimoji="1" lang="en-US" altLang="ja-JP"/>
              <a:t>5 </a:t>
            </a:r>
            <a:r>
              <a:rPr kumimoji="1" lang="ja-JP" altLang="en-US"/>
              <a:t>レベル</a:t>
            </a:r>
            <a:endParaRPr kumimoji="1" lang="ja-JP" altLang="en-US" dirty="0"/>
          </a:p>
        </p:txBody>
      </p:sp>
      <p:sp>
        <p:nvSpPr>
          <p:cNvPr id="18" name="テキスト プレースホルダー 6">
            <a:extLst>
              <a:ext uri="{FF2B5EF4-FFF2-40B4-BE49-F238E27FC236}">
                <a16:creationId xmlns:a16="http://schemas.microsoft.com/office/drawing/2014/main" id="{BDC75ECC-2C36-4D87-8346-55F315D778F7}"/>
              </a:ext>
            </a:extLst>
          </p:cNvPr>
          <p:cNvSpPr>
            <a:spLocks noGrp="1"/>
          </p:cNvSpPr>
          <p:nvPr>
            <p:ph type="body" sz="quarter" idx="21" hasCustomPrompt="1"/>
          </p:nvPr>
        </p:nvSpPr>
        <p:spPr>
          <a:xfrm>
            <a:off x="374492" y="1494054"/>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ja-JP" altLang="en-US" dirty="0"/>
              <a:t>ポイント</a:t>
            </a:r>
            <a:r>
              <a:rPr kumimoji="1" lang="en-US" altLang="ja-JP" dirty="0"/>
              <a:t>1</a:t>
            </a:r>
            <a:endParaRPr kumimoji="1" lang="ja-JP" altLang="en-US" dirty="0"/>
          </a:p>
        </p:txBody>
      </p:sp>
      <p:sp>
        <p:nvSpPr>
          <p:cNvPr id="19" name="テキスト プレースホルダー 6">
            <a:extLst>
              <a:ext uri="{FF2B5EF4-FFF2-40B4-BE49-F238E27FC236}">
                <a16:creationId xmlns:a16="http://schemas.microsoft.com/office/drawing/2014/main" id="{B8979D12-8CC2-446B-B35D-E2BFE6766C93}"/>
              </a:ext>
            </a:extLst>
          </p:cNvPr>
          <p:cNvSpPr>
            <a:spLocks noGrp="1"/>
          </p:cNvSpPr>
          <p:nvPr>
            <p:ph type="body" sz="quarter" idx="22"/>
          </p:nvPr>
        </p:nvSpPr>
        <p:spPr>
          <a:xfrm>
            <a:off x="1763689" y="2995822"/>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a:t>マスター テキストの書式設定</a:t>
            </a:r>
          </a:p>
          <a:p>
            <a:pPr lvl="1">
              <a:buClrTx/>
            </a:pPr>
            <a:r>
              <a:rPr kumimoji="1" lang="ja-JP" altLang="en-US"/>
              <a:t>第 </a:t>
            </a:r>
            <a:r>
              <a:rPr kumimoji="1" lang="en-US" altLang="ja-JP"/>
              <a:t>2 </a:t>
            </a:r>
            <a:r>
              <a:rPr kumimoji="1" lang="ja-JP" altLang="en-US"/>
              <a:t>レベル</a:t>
            </a:r>
          </a:p>
          <a:p>
            <a:pPr lvl="2">
              <a:buClrTx/>
            </a:pPr>
            <a:r>
              <a:rPr kumimoji="1" lang="ja-JP" altLang="en-US"/>
              <a:t>第 </a:t>
            </a:r>
            <a:r>
              <a:rPr kumimoji="1" lang="en-US" altLang="ja-JP"/>
              <a:t>3 </a:t>
            </a:r>
            <a:r>
              <a:rPr kumimoji="1" lang="ja-JP" altLang="en-US"/>
              <a:t>レベル</a:t>
            </a:r>
          </a:p>
          <a:p>
            <a:pPr lvl="3">
              <a:buClrTx/>
            </a:pPr>
            <a:r>
              <a:rPr kumimoji="1" lang="ja-JP" altLang="en-US"/>
              <a:t>第 </a:t>
            </a:r>
            <a:r>
              <a:rPr kumimoji="1" lang="en-US" altLang="ja-JP"/>
              <a:t>4 </a:t>
            </a:r>
            <a:r>
              <a:rPr kumimoji="1" lang="ja-JP" altLang="en-US"/>
              <a:t>レベル</a:t>
            </a:r>
          </a:p>
          <a:p>
            <a:pPr lvl="4">
              <a:buClrTx/>
            </a:pPr>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6">
            <a:extLst>
              <a:ext uri="{FF2B5EF4-FFF2-40B4-BE49-F238E27FC236}">
                <a16:creationId xmlns:a16="http://schemas.microsoft.com/office/drawing/2014/main" id="{6700D048-5C30-4243-BA9E-28076092735B}"/>
              </a:ext>
            </a:extLst>
          </p:cNvPr>
          <p:cNvSpPr>
            <a:spLocks noGrp="1"/>
          </p:cNvSpPr>
          <p:nvPr>
            <p:ph type="body" sz="quarter" idx="23" hasCustomPrompt="1"/>
          </p:nvPr>
        </p:nvSpPr>
        <p:spPr>
          <a:xfrm>
            <a:off x="374492" y="3007265"/>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ja-JP" altLang="en-US" dirty="0"/>
              <a:t>ポイント</a:t>
            </a:r>
            <a:r>
              <a:rPr kumimoji="1" lang="en-US" altLang="ja-JP" dirty="0"/>
              <a:t>2</a:t>
            </a:r>
            <a:endParaRPr kumimoji="1" lang="ja-JP" altLang="en-US" dirty="0"/>
          </a:p>
        </p:txBody>
      </p:sp>
      <p:sp>
        <p:nvSpPr>
          <p:cNvPr id="21" name="テキスト プレースホルダー 6">
            <a:extLst>
              <a:ext uri="{FF2B5EF4-FFF2-40B4-BE49-F238E27FC236}">
                <a16:creationId xmlns:a16="http://schemas.microsoft.com/office/drawing/2014/main" id="{B8C02C48-1EA6-4E18-9667-B7E793A9C7D4}"/>
              </a:ext>
            </a:extLst>
          </p:cNvPr>
          <p:cNvSpPr>
            <a:spLocks noGrp="1"/>
          </p:cNvSpPr>
          <p:nvPr>
            <p:ph type="body" sz="quarter" idx="24"/>
          </p:nvPr>
        </p:nvSpPr>
        <p:spPr>
          <a:xfrm>
            <a:off x="1763689" y="4520477"/>
            <a:ext cx="7005818" cy="12711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a:t>マスター テキストの書式設定</a:t>
            </a:r>
          </a:p>
          <a:p>
            <a:pPr lvl="1">
              <a:buClrTx/>
            </a:pPr>
            <a:r>
              <a:rPr kumimoji="1" lang="ja-JP" altLang="en-US"/>
              <a:t>第 </a:t>
            </a:r>
            <a:r>
              <a:rPr kumimoji="1" lang="en-US" altLang="ja-JP"/>
              <a:t>2 </a:t>
            </a:r>
            <a:r>
              <a:rPr kumimoji="1" lang="ja-JP" altLang="en-US"/>
              <a:t>レベル</a:t>
            </a:r>
          </a:p>
          <a:p>
            <a:pPr lvl="2">
              <a:buClrTx/>
            </a:pPr>
            <a:r>
              <a:rPr kumimoji="1" lang="ja-JP" altLang="en-US"/>
              <a:t>第 </a:t>
            </a:r>
            <a:r>
              <a:rPr kumimoji="1" lang="en-US" altLang="ja-JP"/>
              <a:t>3 </a:t>
            </a:r>
            <a:r>
              <a:rPr kumimoji="1" lang="ja-JP" altLang="en-US"/>
              <a:t>レベル</a:t>
            </a:r>
          </a:p>
          <a:p>
            <a:pPr lvl="3">
              <a:buClrTx/>
            </a:pPr>
            <a:r>
              <a:rPr kumimoji="1" lang="ja-JP" altLang="en-US"/>
              <a:t>第 </a:t>
            </a:r>
            <a:r>
              <a:rPr kumimoji="1" lang="en-US" altLang="ja-JP"/>
              <a:t>4 </a:t>
            </a:r>
            <a:r>
              <a:rPr kumimoji="1" lang="ja-JP" altLang="en-US"/>
              <a:t>レベル</a:t>
            </a:r>
          </a:p>
          <a:p>
            <a:pPr lvl="4">
              <a:buClrTx/>
            </a:pPr>
            <a:r>
              <a:rPr kumimoji="1" lang="ja-JP" altLang="en-US"/>
              <a:t>第 </a:t>
            </a:r>
            <a:r>
              <a:rPr kumimoji="1" lang="en-US" altLang="ja-JP"/>
              <a:t>5 </a:t>
            </a:r>
            <a:r>
              <a:rPr kumimoji="1" lang="ja-JP" altLang="en-US"/>
              <a:t>レベル</a:t>
            </a:r>
            <a:endParaRPr kumimoji="1" lang="ja-JP" altLang="en-US" dirty="0"/>
          </a:p>
        </p:txBody>
      </p:sp>
      <p:sp>
        <p:nvSpPr>
          <p:cNvPr id="22" name="テキスト プレースホルダー 6">
            <a:extLst>
              <a:ext uri="{FF2B5EF4-FFF2-40B4-BE49-F238E27FC236}">
                <a16:creationId xmlns:a16="http://schemas.microsoft.com/office/drawing/2014/main" id="{FC2240E4-0F4D-415B-81B9-551DA104773B}"/>
              </a:ext>
            </a:extLst>
          </p:cNvPr>
          <p:cNvSpPr>
            <a:spLocks noGrp="1"/>
          </p:cNvSpPr>
          <p:nvPr>
            <p:ph type="body" sz="quarter" idx="25" hasCustomPrompt="1"/>
          </p:nvPr>
        </p:nvSpPr>
        <p:spPr>
          <a:xfrm>
            <a:off x="374492" y="4520477"/>
            <a:ext cx="1280955" cy="1271193"/>
          </a:xfrm>
          <a:solidFill>
            <a:schemeClr val="tx2"/>
          </a:solidFill>
          <a:ln w="9525">
            <a:solidFill>
              <a:schemeClr val="bg1">
                <a:lumMod val="50000"/>
              </a:schemeClr>
            </a:solidFill>
            <a:miter lim="800000"/>
            <a:headEnd/>
            <a:tailEnd/>
          </a:ln>
        </p:spPr>
        <p:txBody>
          <a:bodyPr vert="horz" wrap="none" lIns="91440" tIns="45720" rIns="91440" bIns="45720" numCol="1" anchor="ctr" anchorCtr="0" compatLnSpc="1">
            <a:prstTxWarp prst="textNoShape">
              <a:avLst/>
            </a:prstTxWarp>
          </a:bodyPr>
          <a:lstStyle>
            <a:lvl1pPr marL="0" indent="0" algn="ctr">
              <a:buNone/>
              <a:defRPr lang="ja-JP" altLang="en-US" sz="1600" b="1" dirty="0" smtClean="0">
                <a:solidFill>
                  <a:schemeClr val="bg1"/>
                </a:solidFill>
              </a:defRPr>
            </a:lvl1pPr>
            <a:lvl2pPr>
              <a:defRPr lang="ja-JP" altLang="en-US" sz="1400" dirty="0" smtClean="0"/>
            </a:lvl2pPr>
            <a:lvl3pPr>
              <a:defRPr lang="ja-JP" altLang="en-US" sz="1400" dirty="0" smtClean="0"/>
            </a:lvl3pPr>
            <a:lvl4pPr>
              <a:defRPr lang="ja-JP" altLang="en-US" sz="1400" dirty="0" smtClean="0"/>
            </a:lvl4pPr>
            <a:lvl5pPr>
              <a:defRPr lang="ja-JP" altLang="en-US" sz="1400" dirty="0"/>
            </a:lvl5pPr>
          </a:lstStyle>
          <a:p>
            <a:pPr lvl="0">
              <a:buClr>
                <a:schemeClr val="tx2"/>
              </a:buClr>
            </a:pPr>
            <a:r>
              <a:rPr kumimoji="1" lang="ja-JP" altLang="en-US" dirty="0"/>
              <a:t>ポイント</a:t>
            </a:r>
            <a:r>
              <a:rPr kumimoji="1" lang="en-US" altLang="ja-JP" dirty="0"/>
              <a:t>3</a:t>
            </a:r>
            <a:endParaRPr kumimoji="1" lang="ja-JP" altLang="en-US" dirty="0"/>
          </a:p>
        </p:txBody>
      </p:sp>
      <p:sp>
        <p:nvSpPr>
          <p:cNvPr id="24" name="テキスト プレースホルダー 8">
            <a:extLst>
              <a:ext uri="{FF2B5EF4-FFF2-40B4-BE49-F238E27FC236}">
                <a16:creationId xmlns:a16="http://schemas.microsoft.com/office/drawing/2014/main" id="{67BB270F-DC09-4AE2-A35F-A7CD537D8AF5}"/>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ja-JP" altLang="en-US" dirty="0"/>
              <a:t>章見出し</a:t>
            </a:r>
          </a:p>
        </p:txBody>
      </p:sp>
      <p:sp>
        <p:nvSpPr>
          <p:cNvPr id="35" name="テキスト プレースホルダー 24">
            <a:extLst>
              <a:ext uri="{FF2B5EF4-FFF2-40B4-BE49-F238E27FC236}">
                <a16:creationId xmlns:a16="http://schemas.microsoft.com/office/drawing/2014/main" id="{730EE1B2-E4BC-4421-8889-4EF5F9098167}"/>
              </a:ext>
            </a:extLst>
          </p:cNvPr>
          <p:cNvSpPr>
            <a:spLocks noGrp="1"/>
          </p:cNvSpPr>
          <p:nvPr>
            <p:ph type="body" sz="quarter" idx="16" hasCustomPrompt="1"/>
          </p:nvPr>
        </p:nvSpPr>
        <p:spPr>
          <a:xfrm>
            <a:off x="1102990" y="6598225"/>
            <a:ext cx="7285439" cy="206105"/>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
        <p:nvSpPr>
          <p:cNvPr id="36" name="テキスト プレースホルダー 21">
            <a:extLst>
              <a:ext uri="{FF2B5EF4-FFF2-40B4-BE49-F238E27FC236}">
                <a16:creationId xmlns:a16="http://schemas.microsoft.com/office/drawing/2014/main" id="{A0E33F59-E924-4189-B3EA-6DA8D90853A7}"/>
              </a:ext>
            </a:extLst>
          </p:cNvPr>
          <p:cNvSpPr>
            <a:spLocks noGrp="1"/>
          </p:cNvSpPr>
          <p:nvPr>
            <p:ph type="body" sz="quarter" idx="15" hasCustomPrompt="1"/>
          </p:nvPr>
        </p:nvSpPr>
        <p:spPr>
          <a:xfrm>
            <a:off x="374496" y="6245163"/>
            <a:ext cx="8395015" cy="280187"/>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16" name="タイトル 1">
            <a:extLst>
              <a:ext uri="{FF2B5EF4-FFF2-40B4-BE49-F238E27FC236}">
                <a16:creationId xmlns:a16="http://schemas.microsoft.com/office/drawing/2014/main" id="{3891FA04-C498-42B4-B608-85D9355A28FD}"/>
              </a:ext>
            </a:extLst>
          </p:cNvPr>
          <p:cNvSpPr>
            <a:spLocks noGrp="1"/>
          </p:cNvSpPr>
          <p:nvPr>
            <p:ph type="title" hasCustomPrompt="1"/>
          </p:nvPr>
        </p:nvSpPr>
        <p:spPr>
          <a:xfrm>
            <a:off x="374496" y="332656"/>
            <a:ext cx="8395015" cy="779116"/>
          </a:xfrm>
          <a:noFill/>
        </p:spPr>
        <p:txBody>
          <a:bodyPr vert="horz" lIns="36000" anchor="ctr"/>
          <a:lstStyle>
            <a:lvl1pPr algn="l">
              <a:defRPr sz="2200" b="1"/>
            </a:lvl1pPr>
          </a:lstStyle>
          <a:p>
            <a:r>
              <a:rPr lang="ja-JP" altLang="en-US" dirty="0"/>
              <a:t>スライドタイトル</a:t>
            </a:r>
            <a:r>
              <a:rPr lang="en-US" altLang="ja-JP" dirty="0"/>
              <a:t>(1~2</a:t>
            </a:r>
            <a:r>
              <a:rPr lang="ja-JP" altLang="en-US" dirty="0"/>
              <a:t>行で記述</a:t>
            </a:r>
            <a:r>
              <a:rPr lang="en-US" altLang="ja-JP" dirty="0"/>
              <a:t>)</a:t>
            </a:r>
            <a:endParaRPr lang="ja-JP" altLang="en-US" dirty="0"/>
          </a:p>
        </p:txBody>
      </p:sp>
    </p:spTree>
    <p:extLst>
      <p:ext uri="{BB962C8B-B14F-4D97-AF65-F5344CB8AC3E}">
        <p14:creationId xmlns:p14="http://schemas.microsoft.com/office/powerpoint/2010/main" val="1124997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図1つ">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4124386138"/>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pic>
        <p:nvPicPr>
          <p:cNvPr id="12" name="図 11" descr="タイプB中ページライン.png">
            <a:extLst>
              <a:ext uri="{FF2B5EF4-FFF2-40B4-BE49-F238E27FC236}">
                <a16:creationId xmlns:a16="http://schemas.microsoft.com/office/drawing/2014/main" id="{CF57CD68-6747-4A0C-81E6-8448EFD6A90D}"/>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スライド番号プレースホルダ 13">
            <a:extLst>
              <a:ext uri="{FF2B5EF4-FFF2-40B4-BE49-F238E27FC236}">
                <a16:creationId xmlns:a16="http://schemas.microsoft.com/office/drawing/2014/main" id="{E099CB60-AD94-4871-9519-AF7617285172}"/>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sp>
        <p:nvSpPr>
          <p:cNvPr id="13" name="テキスト プレースホルダー 15">
            <a:extLst>
              <a:ext uri="{FF2B5EF4-FFF2-40B4-BE49-F238E27FC236}">
                <a16:creationId xmlns:a16="http://schemas.microsoft.com/office/drawing/2014/main" id="{0C5A3AF6-A352-47C0-B8E6-91A4CA635DB1}"/>
              </a:ext>
            </a:extLst>
          </p:cNvPr>
          <p:cNvSpPr>
            <a:spLocks noGrp="1"/>
          </p:cNvSpPr>
          <p:nvPr>
            <p:ph type="body" sz="quarter" idx="14"/>
          </p:nvPr>
        </p:nvSpPr>
        <p:spPr>
          <a:xfrm>
            <a:off x="374495" y="1324130"/>
            <a:ext cx="2253291" cy="4697158"/>
          </a:xfrm>
          <a:noFill/>
          <a:ln w="9525">
            <a:noFill/>
            <a:miter lim="800000"/>
            <a:headEnd/>
            <a:tailEnd/>
          </a:ln>
        </p:spPr>
        <p:txBody>
          <a:bodyPr vert="horz" wrap="square" lIns="91440" tIns="45720" rIns="91440" bIns="45720" numCol="1" anchor="t" anchorCtr="0" compatLnSpc="1">
            <a:prstTxWarp prst="textNoShape">
              <a:avLst/>
            </a:prstTxWarp>
          </a:bodyPr>
          <a:lstStyle>
            <a:lvl1pPr>
              <a:buClrTx/>
              <a:defRPr lang="ja-JP" altLang="en-US" sz="1600" dirty="0"/>
            </a:lvl1pPr>
            <a:lvl2pPr>
              <a:buClrTx/>
              <a:defRPr lang="ja-JP" altLang="en-US" sz="1600" dirty="0"/>
            </a:lvl2pPr>
            <a:lvl3pPr>
              <a:buClrTx/>
              <a:defRPr lang="ja-JP" altLang="en-US" sz="1600" dirty="0"/>
            </a:lvl3pPr>
            <a:lvl4pPr>
              <a:buClrTx/>
              <a:defRPr lang="ja-JP" altLang="en-US" sz="1600" dirty="0"/>
            </a:lvl4pPr>
            <a:lvl5pPr>
              <a:buClrTx/>
              <a:defRPr lang="ja-JP" altLang="en-US" sz="1600" dirty="0"/>
            </a:lvl5pPr>
          </a:lstStyle>
          <a:p>
            <a:pPr lvl="0">
              <a:buClr>
                <a:schemeClr val="tx2"/>
              </a:buClr>
            </a:pPr>
            <a:r>
              <a:rPr kumimoji="1" lang="ja-JP" altLang="en-US"/>
              <a:t>マスター テキストの書式設定</a:t>
            </a:r>
          </a:p>
          <a:p>
            <a:pPr lvl="1">
              <a:buClr>
                <a:schemeClr val="tx2"/>
              </a:buClr>
            </a:pPr>
            <a:r>
              <a:rPr kumimoji="1" lang="ja-JP" altLang="en-US"/>
              <a:t>第 </a:t>
            </a:r>
            <a:r>
              <a:rPr kumimoji="1" lang="en-US" altLang="ja-JP"/>
              <a:t>2 </a:t>
            </a:r>
            <a:r>
              <a:rPr kumimoji="1" lang="ja-JP" altLang="en-US"/>
              <a:t>レベル</a:t>
            </a:r>
          </a:p>
          <a:p>
            <a:pPr lvl="2">
              <a:buClr>
                <a:schemeClr val="tx2"/>
              </a:buClr>
            </a:pPr>
            <a:r>
              <a:rPr kumimoji="1" lang="ja-JP" altLang="en-US"/>
              <a:t>第 </a:t>
            </a:r>
            <a:r>
              <a:rPr kumimoji="1" lang="en-US" altLang="ja-JP"/>
              <a:t>3 </a:t>
            </a:r>
            <a:r>
              <a:rPr kumimoji="1" lang="ja-JP" altLang="en-US"/>
              <a:t>レベル</a:t>
            </a:r>
          </a:p>
          <a:p>
            <a:pPr lvl="3">
              <a:buClr>
                <a:schemeClr val="tx2"/>
              </a:buClr>
            </a:pPr>
            <a:r>
              <a:rPr kumimoji="1" lang="ja-JP" altLang="en-US"/>
              <a:t>第 </a:t>
            </a:r>
            <a:r>
              <a:rPr kumimoji="1" lang="en-US" altLang="ja-JP"/>
              <a:t>4 </a:t>
            </a:r>
            <a:r>
              <a:rPr kumimoji="1" lang="ja-JP" altLang="en-US"/>
              <a:t>レベル</a:t>
            </a:r>
          </a:p>
          <a:p>
            <a:pPr lvl="4">
              <a:buClr>
                <a:schemeClr val="tx2"/>
              </a:buClr>
            </a:pPr>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21">
            <a:extLst>
              <a:ext uri="{FF2B5EF4-FFF2-40B4-BE49-F238E27FC236}">
                <a16:creationId xmlns:a16="http://schemas.microsoft.com/office/drawing/2014/main" id="{506845F4-630C-4E61-A8BA-1EF6B2426C51}"/>
              </a:ext>
            </a:extLst>
          </p:cNvPr>
          <p:cNvSpPr>
            <a:spLocks noGrp="1"/>
          </p:cNvSpPr>
          <p:nvPr>
            <p:ph type="body" sz="quarter" idx="18" hasCustomPrompt="1"/>
          </p:nvPr>
        </p:nvSpPr>
        <p:spPr>
          <a:xfrm>
            <a:off x="2771777" y="1324128"/>
            <a:ext cx="5997732" cy="308542"/>
          </a:xfrm>
        </p:spPr>
        <p:txBody>
          <a:bodyPr/>
          <a:lstStyle>
            <a:lvl1pPr marL="0" indent="0">
              <a:buNone/>
              <a:defRPr sz="1600" b="1"/>
            </a:lvl1pPr>
            <a:lvl2pPr>
              <a:defRPr sz="923"/>
            </a:lvl2pPr>
            <a:lvl3pPr>
              <a:defRPr sz="923"/>
            </a:lvl3pPr>
            <a:lvl4pPr>
              <a:defRPr sz="923"/>
            </a:lvl4pPr>
            <a:lvl5pPr>
              <a:defRPr sz="923"/>
            </a:lvl5pPr>
          </a:lstStyle>
          <a:p>
            <a:pPr lvl="0"/>
            <a:r>
              <a:rPr kumimoji="1" lang="ja-JP" altLang="en-US" dirty="0"/>
              <a:t>図表タイトル </a:t>
            </a:r>
            <a:r>
              <a:rPr kumimoji="1" lang="en-US" altLang="ja-JP" dirty="0"/>
              <a:t>(</a:t>
            </a:r>
            <a:r>
              <a:rPr kumimoji="1" lang="ja-JP" altLang="en-US" dirty="0"/>
              <a:t>直下に下線を引く</a:t>
            </a:r>
            <a:r>
              <a:rPr kumimoji="1" lang="en-US" altLang="ja-JP" dirty="0"/>
              <a:t>)</a:t>
            </a:r>
            <a:endParaRPr kumimoji="1" lang="ja-JP" altLang="en-US" dirty="0"/>
          </a:p>
        </p:txBody>
      </p:sp>
      <p:sp>
        <p:nvSpPr>
          <p:cNvPr id="21" name="コンテンツ プレースホルダー 18">
            <a:extLst>
              <a:ext uri="{FF2B5EF4-FFF2-40B4-BE49-F238E27FC236}">
                <a16:creationId xmlns:a16="http://schemas.microsoft.com/office/drawing/2014/main" id="{89C80F63-277F-4FBE-85FC-8BE2FED2AC84}"/>
              </a:ext>
            </a:extLst>
          </p:cNvPr>
          <p:cNvSpPr>
            <a:spLocks noGrp="1"/>
          </p:cNvSpPr>
          <p:nvPr>
            <p:ph sz="quarter" idx="20" hasCustomPrompt="1"/>
          </p:nvPr>
        </p:nvSpPr>
        <p:spPr>
          <a:xfrm>
            <a:off x="2771780" y="1775210"/>
            <a:ext cx="5997731" cy="4190708"/>
          </a:xfrm>
        </p:spPr>
        <p:txBody>
          <a:bodyPr/>
          <a:lstStyle>
            <a:lvl1pPr marL="0" indent="0">
              <a:buNone/>
              <a:defRPr/>
            </a:lvl1pPr>
          </a:lstStyle>
          <a:p>
            <a:pPr lvl="0"/>
            <a:r>
              <a:rPr kumimoji="1" lang="ja-JP" altLang="en-US" dirty="0"/>
              <a:t>図表の挿入箇所</a:t>
            </a:r>
          </a:p>
        </p:txBody>
      </p:sp>
      <p:sp>
        <p:nvSpPr>
          <p:cNvPr id="22" name="テキスト プレースホルダー 8">
            <a:extLst>
              <a:ext uri="{FF2B5EF4-FFF2-40B4-BE49-F238E27FC236}">
                <a16:creationId xmlns:a16="http://schemas.microsoft.com/office/drawing/2014/main" id="{1AE035B2-8B76-407E-8E10-3986DE014F3E}"/>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ja-JP" altLang="en-US" dirty="0"/>
              <a:t>章見出し</a:t>
            </a:r>
          </a:p>
        </p:txBody>
      </p:sp>
      <p:sp>
        <p:nvSpPr>
          <p:cNvPr id="23" name="テキスト プレースホルダー 24">
            <a:extLst>
              <a:ext uri="{FF2B5EF4-FFF2-40B4-BE49-F238E27FC236}">
                <a16:creationId xmlns:a16="http://schemas.microsoft.com/office/drawing/2014/main" id="{771AB0BE-9553-4959-9C9D-AD2249C6EECB}"/>
              </a:ext>
            </a:extLst>
          </p:cNvPr>
          <p:cNvSpPr>
            <a:spLocks noGrp="1"/>
          </p:cNvSpPr>
          <p:nvPr>
            <p:ph type="body" sz="quarter" idx="16" hasCustomPrompt="1"/>
          </p:nvPr>
        </p:nvSpPr>
        <p:spPr>
          <a:xfrm>
            <a:off x="1102990" y="6598225"/>
            <a:ext cx="7285439" cy="206105"/>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
        <p:nvSpPr>
          <p:cNvPr id="24" name="テキスト プレースホルダー 21">
            <a:extLst>
              <a:ext uri="{FF2B5EF4-FFF2-40B4-BE49-F238E27FC236}">
                <a16:creationId xmlns:a16="http://schemas.microsoft.com/office/drawing/2014/main" id="{C786F307-2562-4121-9D30-07AF67FDF259}"/>
              </a:ext>
            </a:extLst>
          </p:cNvPr>
          <p:cNvSpPr>
            <a:spLocks noGrp="1"/>
          </p:cNvSpPr>
          <p:nvPr>
            <p:ph type="body" sz="quarter" idx="15" hasCustomPrompt="1"/>
          </p:nvPr>
        </p:nvSpPr>
        <p:spPr>
          <a:xfrm>
            <a:off x="374496" y="6245163"/>
            <a:ext cx="8395015" cy="280187"/>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16" name="タイトル 1">
            <a:extLst>
              <a:ext uri="{FF2B5EF4-FFF2-40B4-BE49-F238E27FC236}">
                <a16:creationId xmlns:a16="http://schemas.microsoft.com/office/drawing/2014/main" id="{A1EAF83C-8D63-45BF-A367-7B6C8E344817}"/>
              </a:ext>
            </a:extLst>
          </p:cNvPr>
          <p:cNvSpPr>
            <a:spLocks noGrp="1"/>
          </p:cNvSpPr>
          <p:nvPr>
            <p:ph type="title" hasCustomPrompt="1"/>
          </p:nvPr>
        </p:nvSpPr>
        <p:spPr>
          <a:xfrm>
            <a:off x="374496" y="332656"/>
            <a:ext cx="8395015" cy="779116"/>
          </a:xfrm>
          <a:noFill/>
        </p:spPr>
        <p:txBody>
          <a:bodyPr vert="horz" lIns="36000" anchor="ctr"/>
          <a:lstStyle>
            <a:lvl1pPr algn="l">
              <a:defRPr sz="2200" b="1"/>
            </a:lvl1pPr>
          </a:lstStyle>
          <a:p>
            <a:r>
              <a:rPr lang="ja-JP" altLang="en-US" dirty="0"/>
              <a:t>スライドタイトル</a:t>
            </a:r>
            <a:r>
              <a:rPr lang="en-US" altLang="ja-JP" dirty="0"/>
              <a:t>(1~2</a:t>
            </a:r>
            <a:r>
              <a:rPr lang="ja-JP" altLang="en-US" dirty="0"/>
              <a:t>行で記述</a:t>
            </a:r>
            <a:r>
              <a:rPr lang="en-US" altLang="ja-JP" dirty="0"/>
              <a:t>)</a:t>
            </a:r>
            <a:endParaRPr lang="ja-JP" altLang="en-US" dirty="0"/>
          </a:p>
        </p:txBody>
      </p:sp>
    </p:spTree>
    <p:extLst>
      <p:ext uri="{BB962C8B-B14F-4D97-AF65-F5344CB8AC3E}">
        <p14:creationId xmlns:p14="http://schemas.microsoft.com/office/powerpoint/2010/main" val="1667452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メッセージ＋本文">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63496755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374496" y="332656"/>
            <a:ext cx="8395015" cy="779116"/>
          </a:xfrm>
          <a:noFill/>
        </p:spPr>
        <p:txBody>
          <a:bodyPr vert="horz" lIns="36000" anchor="ctr"/>
          <a:lstStyle>
            <a:lvl1pPr algn="l">
              <a:defRPr sz="2200" b="1"/>
            </a:lvl1pPr>
          </a:lstStyle>
          <a:p>
            <a:r>
              <a:rPr lang="ja-JP" altLang="en-US" dirty="0"/>
              <a:t>スライドタイトル</a:t>
            </a:r>
            <a:r>
              <a:rPr lang="en-US" altLang="ja-JP" dirty="0"/>
              <a:t>(1~2</a:t>
            </a:r>
            <a:r>
              <a:rPr lang="ja-JP" altLang="en-US" dirty="0"/>
              <a:t>行で記述</a:t>
            </a:r>
            <a:r>
              <a:rPr lang="en-US" altLang="ja-JP" dirty="0"/>
              <a:t>)2</a:t>
            </a:r>
            <a:endParaRPr lang="ja-JP" altLang="en-US" dirty="0"/>
          </a:p>
        </p:txBody>
      </p:sp>
      <p:sp>
        <p:nvSpPr>
          <p:cNvPr id="16" name="テキスト プレースホルダー 15">
            <a:extLst>
              <a:ext uri="{FF2B5EF4-FFF2-40B4-BE49-F238E27FC236}">
                <a16:creationId xmlns:a16="http://schemas.microsoft.com/office/drawing/2014/main" id="{DBB84BA7-E9EC-408F-B46A-3AF7828C65C2}"/>
              </a:ext>
            </a:extLst>
          </p:cNvPr>
          <p:cNvSpPr>
            <a:spLocks noGrp="1"/>
          </p:cNvSpPr>
          <p:nvPr>
            <p:ph type="body" sz="quarter" idx="14"/>
          </p:nvPr>
        </p:nvSpPr>
        <p:spPr>
          <a:xfrm>
            <a:off x="374496" y="1300012"/>
            <a:ext cx="8395015" cy="4865293"/>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ja-JP" altLang="en-US" dirty="0" smtClean="0"/>
            </a:lvl1pPr>
            <a:lvl2pPr>
              <a:defRPr lang="ja-JP" altLang="en-US" dirty="0" smtClean="0"/>
            </a:lvl2pPr>
            <a:lvl3pPr>
              <a:defRPr lang="ja-JP" altLang="en-US" dirty="0" smtClean="0"/>
            </a:lvl3pPr>
            <a:lvl4pPr>
              <a:defRPr lang="ja-JP" altLang="en-US" dirty="0" smtClean="0"/>
            </a:lvl4pPr>
            <a:lvl5pPr>
              <a:defRPr lang="ja-JP" altLang="en-US" dirty="0"/>
            </a:lvl5pPr>
          </a:lstStyle>
          <a:p>
            <a:pPr lvl="0">
              <a:buClrTx/>
            </a:pPr>
            <a:r>
              <a:rPr kumimoji="1" lang="ja-JP" altLang="en-US"/>
              <a:t>マスター テキストの書式設定</a:t>
            </a:r>
          </a:p>
          <a:p>
            <a:pPr lvl="1">
              <a:buClrTx/>
            </a:pPr>
            <a:r>
              <a:rPr kumimoji="1" lang="ja-JP" altLang="en-US"/>
              <a:t>第 </a:t>
            </a:r>
            <a:r>
              <a:rPr kumimoji="1" lang="en-US" altLang="ja-JP"/>
              <a:t>2 </a:t>
            </a:r>
            <a:r>
              <a:rPr kumimoji="1" lang="ja-JP" altLang="en-US"/>
              <a:t>レベル</a:t>
            </a:r>
          </a:p>
          <a:p>
            <a:pPr lvl="2">
              <a:buClrTx/>
            </a:pPr>
            <a:r>
              <a:rPr kumimoji="1" lang="ja-JP" altLang="en-US"/>
              <a:t>第 </a:t>
            </a:r>
            <a:r>
              <a:rPr kumimoji="1" lang="en-US" altLang="ja-JP"/>
              <a:t>3 </a:t>
            </a:r>
            <a:r>
              <a:rPr kumimoji="1" lang="ja-JP" altLang="en-US"/>
              <a:t>レベル</a:t>
            </a:r>
          </a:p>
          <a:p>
            <a:pPr lvl="3">
              <a:buClrTx/>
            </a:pPr>
            <a:r>
              <a:rPr kumimoji="1" lang="ja-JP" altLang="en-US"/>
              <a:t>第 </a:t>
            </a:r>
            <a:r>
              <a:rPr kumimoji="1" lang="en-US" altLang="ja-JP"/>
              <a:t>4 </a:t>
            </a:r>
            <a:r>
              <a:rPr kumimoji="1" lang="ja-JP" altLang="en-US"/>
              <a:t>レベル</a:t>
            </a:r>
          </a:p>
          <a:p>
            <a:pPr lvl="4">
              <a:buClrTx/>
            </a:pPr>
            <a:r>
              <a:rPr kumimoji="1" lang="ja-JP" altLang="en-US"/>
              <a:t>第 </a:t>
            </a:r>
            <a:r>
              <a:rPr kumimoji="1" lang="en-US" altLang="ja-JP"/>
              <a:t>5 </a:t>
            </a:r>
            <a:r>
              <a:rPr kumimoji="1" lang="ja-JP" altLang="en-US"/>
              <a:t>レベル</a:t>
            </a:r>
            <a:endParaRPr kumimoji="1" lang="ja-JP" altLang="en-US" dirty="0"/>
          </a:p>
        </p:txBody>
      </p:sp>
      <p:sp>
        <p:nvSpPr>
          <p:cNvPr id="27" name="テキスト プレースホルダー 24">
            <a:extLst>
              <a:ext uri="{FF2B5EF4-FFF2-40B4-BE49-F238E27FC236}">
                <a16:creationId xmlns:a16="http://schemas.microsoft.com/office/drawing/2014/main" id="{FBD886BD-EA26-4C38-B6C1-6183E7C05962}"/>
              </a:ext>
            </a:extLst>
          </p:cNvPr>
          <p:cNvSpPr>
            <a:spLocks noGrp="1"/>
          </p:cNvSpPr>
          <p:nvPr>
            <p:ph type="body" sz="quarter" idx="16" hasCustomPrompt="1"/>
          </p:nvPr>
        </p:nvSpPr>
        <p:spPr>
          <a:xfrm>
            <a:off x="1102990" y="6598225"/>
            <a:ext cx="7285439" cy="206105"/>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出所：</a:t>
            </a:r>
            <a:r>
              <a:rPr kumimoji="1" lang="en-US" altLang="ja-JP" dirty="0"/>
              <a:t>ZZZZZ</a:t>
            </a:r>
            <a:endParaRPr kumimoji="1" lang="ja-JP" altLang="en-US" dirty="0"/>
          </a:p>
        </p:txBody>
      </p:sp>
      <p:sp>
        <p:nvSpPr>
          <p:cNvPr id="11" name="スライド番号プレースホルダ 13">
            <a:extLst>
              <a:ext uri="{FF2B5EF4-FFF2-40B4-BE49-F238E27FC236}">
                <a16:creationId xmlns:a16="http://schemas.microsoft.com/office/drawing/2014/main" id="{6C1633A3-41CC-4C11-8B3C-FED4B77DB9FC}"/>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pic>
        <p:nvPicPr>
          <p:cNvPr id="12" name="図 11" descr="タイプB中ページライン.png">
            <a:extLst>
              <a:ext uri="{FF2B5EF4-FFF2-40B4-BE49-F238E27FC236}">
                <a16:creationId xmlns:a16="http://schemas.microsoft.com/office/drawing/2014/main" id="{046A9D12-5B6A-4AEF-9FCC-0C8551F73D7B}"/>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テキスト プレースホルダー 21">
            <a:extLst>
              <a:ext uri="{FF2B5EF4-FFF2-40B4-BE49-F238E27FC236}">
                <a16:creationId xmlns:a16="http://schemas.microsoft.com/office/drawing/2014/main" id="{7B43D4A4-9D9D-4FCE-8540-8FD496759497}"/>
              </a:ext>
            </a:extLst>
          </p:cNvPr>
          <p:cNvSpPr>
            <a:spLocks noGrp="1"/>
          </p:cNvSpPr>
          <p:nvPr>
            <p:ph type="body" sz="quarter" idx="15" hasCustomPrompt="1"/>
          </p:nvPr>
        </p:nvSpPr>
        <p:spPr>
          <a:xfrm>
            <a:off x="374496" y="6245163"/>
            <a:ext cx="8395015" cy="280187"/>
          </a:xfrm>
        </p:spPr>
        <p:txBody>
          <a:bodyPr anchor="b"/>
          <a:lstStyle>
            <a:lvl1pPr marL="0" indent="0">
              <a:buNone/>
              <a:defRPr sz="1100"/>
            </a:lvl1pPr>
            <a:lvl2pPr>
              <a:defRPr sz="923"/>
            </a:lvl2pPr>
            <a:lvl3pPr>
              <a:defRPr sz="923"/>
            </a:lvl3pPr>
            <a:lvl4pPr>
              <a:defRPr sz="923"/>
            </a:lvl4pPr>
            <a:lvl5pPr>
              <a:defRPr sz="923"/>
            </a:lvl5pPr>
          </a:lstStyle>
          <a:p>
            <a:pPr lvl="0"/>
            <a:r>
              <a:rPr kumimoji="1" lang="ja-JP" altLang="en-US" dirty="0"/>
              <a:t>脚注：</a:t>
            </a:r>
            <a:r>
              <a:rPr kumimoji="1" lang="en-US" altLang="ja-JP" dirty="0"/>
              <a:t>1. </a:t>
            </a:r>
            <a:r>
              <a:rPr kumimoji="1" lang="en-US" altLang="ja-JP" dirty="0" err="1"/>
              <a:t>xxxxx</a:t>
            </a:r>
            <a:r>
              <a:rPr kumimoji="1" lang="ja-JP" altLang="en-US" dirty="0"/>
              <a:t>、</a:t>
            </a:r>
            <a:r>
              <a:rPr kumimoji="1" lang="en-US" altLang="ja-JP" dirty="0"/>
              <a:t>2. YYYYY</a:t>
            </a:r>
            <a:r>
              <a:rPr kumimoji="1" lang="ja-JP" altLang="en-US" dirty="0"/>
              <a:t>と記述する（本文中には上付数字を付ける）</a:t>
            </a:r>
          </a:p>
        </p:txBody>
      </p:sp>
      <p:sp>
        <p:nvSpPr>
          <p:cNvPr id="17" name="テキスト プレースホルダー 8">
            <a:extLst>
              <a:ext uri="{FF2B5EF4-FFF2-40B4-BE49-F238E27FC236}">
                <a16:creationId xmlns:a16="http://schemas.microsoft.com/office/drawing/2014/main" id="{C199ABAD-6C84-420B-A409-F715B4346D69}"/>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ja-JP" altLang="en-US" dirty="0"/>
              <a:t>章見出し</a:t>
            </a:r>
          </a:p>
        </p:txBody>
      </p:sp>
    </p:spTree>
    <p:extLst>
      <p:ext uri="{BB962C8B-B14F-4D97-AF65-F5344CB8AC3E}">
        <p14:creationId xmlns:p14="http://schemas.microsoft.com/office/powerpoint/2010/main" val="150091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graphicFrame>
        <p:nvGraphicFramePr>
          <p:cNvPr id="14" name="オブジェクト 13" hidden="1">
            <a:extLst>
              <a:ext uri="{FF2B5EF4-FFF2-40B4-BE49-F238E27FC236}">
                <a16:creationId xmlns:a16="http://schemas.microsoft.com/office/drawing/2014/main" id="{584B176C-B399-4BC2-B29E-9BF35B0B4847}"/>
              </a:ext>
            </a:extLst>
          </p:cNvPr>
          <p:cNvGraphicFramePr>
            <a:graphicFrameLocks noChangeAspect="1"/>
          </p:cNvGraphicFramePr>
          <p:nvPr userDrawn="1">
            <p:custDataLst>
              <p:tags r:id="rId1"/>
            </p:custDataLst>
            <p:extLst>
              <p:ext uri="{D42A27DB-BD31-4B8C-83A1-F6EECF244321}">
                <p14:modId xmlns:p14="http://schemas.microsoft.com/office/powerpoint/2010/main" val="4173435747"/>
              </p:ext>
            </p:extLst>
          </p:nvPr>
        </p:nvGraphicFramePr>
        <p:xfrm>
          <a:off x="1590" y="2125"/>
          <a:ext cx="1588" cy="2117"/>
        </p:xfrm>
        <a:graphic>
          <a:graphicData uri="http://schemas.openxmlformats.org/presentationml/2006/ole">
            <mc:AlternateContent xmlns:mc="http://schemas.openxmlformats.org/markup-compatibility/2006">
              <mc:Choice xmlns:v="urn:schemas-microsoft-com:vml" Requires="v">
                <p:oleObj name="think-cell スライド" r:id="rId4" imgW="262" imgH="262" progId="TCLayout.ActiveDocument.1">
                  <p:embed/>
                </p:oleObj>
              </mc:Choice>
              <mc:Fallback>
                <p:oleObj name="think-cell スライド" r:id="rId4" imgW="262" imgH="262" progId="TCLayout.ActiveDocument.1">
                  <p:embed/>
                  <p:pic>
                    <p:nvPicPr>
                      <p:cNvPr id="14" name="オブジェクト 13" hidden="1">
                        <a:extLst>
                          <a:ext uri="{FF2B5EF4-FFF2-40B4-BE49-F238E27FC236}">
                            <a16:creationId xmlns:a16="http://schemas.microsoft.com/office/drawing/2014/main" id="{584B176C-B399-4BC2-B29E-9BF35B0B4847}"/>
                          </a:ext>
                        </a:extLst>
                      </p:cNvPr>
                      <p:cNvPicPr/>
                      <p:nvPr/>
                    </p:nvPicPr>
                    <p:blipFill>
                      <a:blip r:embed="rId5"/>
                      <a:stretch>
                        <a:fillRect/>
                      </a:stretch>
                    </p:blipFill>
                    <p:spPr>
                      <a:xfrm>
                        <a:off x="1590" y="2125"/>
                        <a:ext cx="1588" cy="2117"/>
                      </a:xfrm>
                      <a:prstGeom prst="rect">
                        <a:avLst/>
                      </a:prstGeom>
                    </p:spPr>
                  </p:pic>
                </p:oleObj>
              </mc:Fallback>
            </mc:AlternateContent>
          </a:graphicData>
        </a:graphic>
      </p:graphicFrame>
      <p:sp>
        <p:nvSpPr>
          <p:cNvPr id="13" name="正方形/長方形 12" hidden="1">
            <a:extLst>
              <a:ext uri="{FF2B5EF4-FFF2-40B4-BE49-F238E27FC236}">
                <a16:creationId xmlns:a16="http://schemas.microsoft.com/office/drawing/2014/main" id="{262E39A6-0BAE-4A8C-8E05-F891CBDB8160}"/>
              </a:ext>
            </a:extLst>
          </p:cNvPr>
          <p:cNvSpPr/>
          <p:nvPr userDrawn="1">
            <p:custDataLst>
              <p:tags r:id="rId2"/>
            </p:custDataLst>
          </p:nvPr>
        </p:nvSpPr>
        <p:spPr>
          <a:xfrm>
            <a:off x="1" y="1"/>
            <a:ext cx="158750" cy="211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6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ctrTitle" hasCustomPrompt="1"/>
          </p:nvPr>
        </p:nvSpPr>
        <p:spPr>
          <a:xfrm>
            <a:off x="685800" y="1082045"/>
            <a:ext cx="7772400" cy="1470026"/>
          </a:xfrm>
          <a:noFill/>
        </p:spPr>
        <p:txBody>
          <a:bodyPr anchor="b"/>
          <a:lstStyle>
            <a:lvl1pPr algn="l">
              <a:defRPr sz="3600" b="1">
                <a:solidFill>
                  <a:schemeClr val="tx1"/>
                </a:solidFill>
              </a:defRPr>
            </a:lvl1pPr>
          </a:lstStyle>
          <a:p>
            <a:r>
              <a:rPr lang="en-US" altLang="ja-JP" dirty="0"/>
              <a:t>Slide Title</a:t>
            </a:r>
            <a:endParaRPr lang="ja-JP" altLang="en-US" dirty="0"/>
          </a:p>
        </p:txBody>
      </p:sp>
      <p:sp>
        <p:nvSpPr>
          <p:cNvPr id="5" name="フッター プレースホルダ 4"/>
          <p:cNvSpPr>
            <a:spLocks noGrp="1"/>
          </p:cNvSpPr>
          <p:nvPr>
            <p:ph type="ftr" sz="quarter" idx="11"/>
          </p:nvPr>
        </p:nvSpPr>
        <p:spPr>
          <a:xfrm>
            <a:off x="1028329" y="6543432"/>
            <a:ext cx="591344" cy="274324"/>
          </a:xfrm>
          <a:prstGeom prst="rect">
            <a:avLst/>
          </a:prstGeom>
        </p:spPr>
        <p:txBody>
          <a:bodyPr vert="horz" lIns="91440" tIns="45720" rIns="91440" bIns="45720" rtlCol="0" anchor="ctr"/>
          <a:lstStyle>
            <a:defPPr>
              <a:defRPr lang="ja-JP"/>
            </a:defPPr>
            <a:lvl1pPr algn="l" rtl="0" fontAlgn="auto">
              <a:spcBef>
                <a:spcPts val="0"/>
              </a:spcBef>
              <a:spcAft>
                <a:spcPts val="0"/>
              </a:spcAft>
              <a:defRPr kumimoji="1" sz="1200" b="1" kern="1200">
                <a:solidFill>
                  <a:schemeClr val="bg1">
                    <a:lumMod val="50000"/>
                  </a:schemeClr>
                </a:solidFill>
                <a:latin typeface="Century Gothic" pitchFamily="34" charset="0"/>
                <a:ea typeface="+mn-ea"/>
                <a:cs typeface="Arial" pitchFamily="34" charset="0"/>
              </a:defRPr>
            </a:lvl1pPr>
            <a:lvl2pPr marL="562705" algn="l" rtl="0" fontAlgn="base">
              <a:spcBef>
                <a:spcPct val="0"/>
              </a:spcBef>
              <a:spcAft>
                <a:spcPct val="0"/>
              </a:spcAft>
              <a:defRPr kumimoji="1" kern="1200">
                <a:solidFill>
                  <a:schemeClr val="tx1"/>
                </a:solidFill>
                <a:latin typeface="Arial" charset="0"/>
                <a:ea typeface="ＭＳ Ｐゴシック" charset="-128"/>
                <a:cs typeface="+mn-cs"/>
              </a:defRPr>
            </a:lvl2pPr>
            <a:lvl3pPr marL="1125411" algn="l" rtl="0" fontAlgn="base">
              <a:spcBef>
                <a:spcPct val="0"/>
              </a:spcBef>
              <a:spcAft>
                <a:spcPct val="0"/>
              </a:spcAft>
              <a:defRPr kumimoji="1" kern="1200">
                <a:solidFill>
                  <a:schemeClr val="tx1"/>
                </a:solidFill>
                <a:latin typeface="Arial" charset="0"/>
                <a:ea typeface="ＭＳ Ｐゴシック" charset="-128"/>
                <a:cs typeface="+mn-cs"/>
              </a:defRPr>
            </a:lvl3pPr>
            <a:lvl4pPr marL="1688112" algn="l" rtl="0" fontAlgn="base">
              <a:spcBef>
                <a:spcPct val="0"/>
              </a:spcBef>
              <a:spcAft>
                <a:spcPct val="0"/>
              </a:spcAft>
              <a:defRPr kumimoji="1" kern="1200">
                <a:solidFill>
                  <a:schemeClr val="tx1"/>
                </a:solidFill>
                <a:latin typeface="Arial" charset="0"/>
                <a:ea typeface="ＭＳ Ｐゴシック" charset="-128"/>
                <a:cs typeface="+mn-cs"/>
              </a:defRPr>
            </a:lvl4pPr>
            <a:lvl5pPr marL="2250818" algn="l" rtl="0" fontAlgn="base">
              <a:spcBef>
                <a:spcPct val="0"/>
              </a:spcBef>
              <a:spcAft>
                <a:spcPct val="0"/>
              </a:spcAft>
              <a:defRPr kumimoji="1" kern="1200">
                <a:solidFill>
                  <a:schemeClr val="tx1"/>
                </a:solidFill>
                <a:latin typeface="Arial" charset="0"/>
                <a:ea typeface="ＭＳ Ｐゴシック" charset="-128"/>
                <a:cs typeface="+mn-cs"/>
              </a:defRPr>
            </a:lvl5pPr>
            <a:lvl6pPr marL="2813523" algn="l" defTabSz="1125411" rtl="0" eaLnBrk="1" latinLnBrk="0" hangingPunct="1">
              <a:defRPr kumimoji="1" kern="1200">
                <a:solidFill>
                  <a:schemeClr val="tx1"/>
                </a:solidFill>
                <a:latin typeface="Arial" charset="0"/>
                <a:ea typeface="ＭＳ Ｐゴシック" charset="-128"/>
                <a:cs typeface="+mn-cs"/>
              </a:defRPr>
            </a:lvl6pPr>
            <a:lvl7pPr marL="3376226" algn="l" defTabSz="1125411" rtl="0" eaLnBrk="1" latinLnBrk="0" hangingPunct="1">
              <a:defRPr kumimoji="1" kern="1200">
                <a:solidFill>
                  <a:schemeClr val="tx1"/>
                </a:solidFill>
                <a:latin typeface="Arial" charset="0"/>
                <a:ea typeface="ＭＳ Ｐゴシック" charset="-128"/>
                <a:cs typeface="+mn-cs"/>
              </a:defRPr>
            </a:lvl7pPr>
            <a:lvl8pPr marL="3938931" algn="l" defTabSz="1125411" rtl="0" eaLnBrk="1" latinLnBrk="0" hangingPunct="1">
              <a:defRPr kumimoji="1" kern="1200">
                <a:solidFill>
                  <a:schemeClr val="tx1"/>
                </a:solidFill>
                <a:latin typeface="Arial" charset="0"/>
                <a:ea typeface="ＭＳ Ｐゴシック" charset="-128"/>
                <a:cs typeface="+mn-cs"/>
              </a:defRPr>
            </a:lvl8pPr>
            <a:lvl9pPr marL="4501635" algn="l" defTabSz="1125411" rtl="0" eaLnBrk="1" latinLnBrk="0" hangingPunct="1">
              <a:defRPr kumimoji="1" kern="1200">
                <a:solidFill>
                  <a:schemeClr val="tx1"/>
                </a:solidFill>
                <a:latin typeface="Arial" charset="0"/>
                <a:ea typeface="ＭＳ Ｐゴシック" charset="-128"/>
                <a:cs typeface="+mn-cs"/>
              </a:defRPr>
            </a:lvl9pPr>
          </a:lstStyle>
          <a:p>
            <a:pPr>
              <a:defRPr/>
            </a:pPr>
            <a:r>
              <a:rPr lang="en-US" altLang="ja-JP" dirty="0"/>
              <a:t>2025</a:t>
            </a:r>
            <a:endParaRPr lang="ja-JP" altLang="en-US" dirty="0"/>
          </a:p>
        </p:txBody>
      </p:sp>
      <p:pic>
        <p:nvPicPr>
          <p:cNvPr id="22" name="図 21" descr="タイプB表紙ライン.png"/>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a:xfrm>
            <a:off x="603834" y="2531150"/>
            <a:ext cx="7936336" cy="79247"/>
          </a:xfrm>
          <a:prstGeom prst="rect">
            <a:avLst/>
          </a:prstGeom>
        </p:spPr>
      </p:pic>
      <p:pic>
        <p:nvPicPr>
          <p:cNvPr id="29" name="図 28" descr="コピーライトグレー.png">
            <a:extLst>
              <a:ext uri="{FF2B5EF4-FFF2-40B4-BE49-F238E27FC236}">
                <a16:creationId xmlns:a16="http://schemas.microsoft.com/office/drawing/2014/main" id="{39D444FC-CC1F-4622-B8C9-BC2D4DEB79EB}"/>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250825" y="6597916"/>
            <a:ext cx="762060" cy="158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図 18">
            <a:extLst>
              <a:ext uri="{FF2B5EF4-FFF2-40B4-BE49-F238E27FC236}">
                <a16:creationId xmlns:a16="http://schemas.microsoft.com/office/drawing/2014/main" id="{6D7AD7EB-5CFB-48A8-B305-CF597644F7B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851922" y="6166824"/>
            <a:ext cx="1499650" cy="431092"/>
          </a:xfrm>
          <a:prstGeom prst="rect">
            <a:avLst/>
          </a:prstGeom>
        </p:spPr>
      </p:pic>
      <p:sp>
        <p:nvSpPr>
          <p:cNvPr id="30" name="サブタイトル 2">
            <a:extLst>
              <a:ext uri="{FF2B5EF4-FFF2-40B4-BE49-F238E27FC236}">
                <a16:creationId xmlns:a16="http://schemas.microsoft.com/office/drawing/2014/main" id="{4449AACB-660E-44B0-8708-8EF4154FCBAB}"/>
              </a:ext>
            </a:extLst>
          </p:cNvPr>
          <p:cNvSpPr>
            <a:spLocks noGrp="1"/>
          </p:cNvSpPr>
          <p:nvPr>
            <p:ph type="subTitle" idx="1" hasCustomPrompt="1"/>
          </p:nvPr>
        </p:nvSpPr>
        <p:spPr>
          <a:xfrm>
            <a:off x="1907543" y="3960353"/>
            <a:ext cx="5609743" cy="355036"/>
          </a:xfrm>
          <a:noFill/>
        </p:spPr>
        <p:txBody>
          <a:bodyPr/>
          <a:lstStyle>
            <a:lvl1pPr marL="0" indent="0" algn="l">
              <a:buNone/>
              <a:defRPr sz="1800">
                <a:solidFill>
                  <a:schemeClr val="tx1"/>
                </a:solidFill>
              </a:defRPr>
            </a:lvl1pPr>
            <a:lvl2pPr marL="371455" indent="0" algn="ctr">
              <a:buNone/>
              <a:defRPr>
                <a:solidFill>
                  <a:schemeClr val="tx1">
                    <a:tint val="75000"/>
                  </a:schemeClr>
                </a:solidFill>
              </a:defRPr>
            </a:lvl2pPr>
            <a:lvl3pPr marL="742908" indent="0" algn="ctr">
              <a:buNone/>
              <a:defRPr>
                <a:solidFill>
                  <a:schemeClr val="tx1">
                    <a:tint val="75000"/>
                  </a:schemeClr>
                </a:solidFill>
              </a:defRPr>
            </a:lvl3pPr>
            <a:lvl4pPr marL="1114363" indent="0" algn="ctr">
              <a:buNone/>
              <a:defRPr>
                <a:solidFill>
                  <a:schemeClr val="tx1">
                    <a:tint val="75000"/>
                  </a:schemeClr>
                </a:solidFill>
              </a:defRPr>
            </a:lvl4pPr>
            <a:lvl5pPr marL="1485818" indent="0" algn="ctr">
              <a:buNone/>
              <a:defRPr>
                <a:solidFill>
                  <a:schemeClr val="tx1">
                    <a:tint val="75000"/>
                  </a:schemeClr>
                </a:solidFill>
              </a:defRPr>
            </a:lvl5pPr>
            <a:lvl6pPr marL="1857272" indent="0" algn="ctr">
              <a:buNone/>
              <a:defRPr>
                <a:solidFill>
                  <a:schemeClr val="tx1">
                    <a:tint val="75000"/>
                  </a:schemeClr>
                </a:solidFill>
              </a:defRPr>
            </a:lvl6pPr>
            <a:lvl7pPr marL="2228726" indent="0" algn="ctr">
              <a:buNone/>
              <a:defRPr>
                <a:solidFill>
                  <a:schemeClr val="tx1">
                    <a:tint val="75000"/>
                  </a:schemeClr>
                </a:solidFill>
              </a:defRPr>
            </a:lvl7pPr>
            <a:lvl8pPr marL="2600180" indent="0" algn="ctr">
              <a:buNone/>
              <a:defRPr>
                <a:solidFill>
                  <a:schemeClr val="tx1">
                    <a:tint val="75000"/>
                  </a:schemeClr>
                </a:solidFill>
              </a:defRPr>
            </a:lvl8pPr>
            <a:lvl9pPr marL="2971635" indent="0" algn="ctr">
              <a:buNone/>
              <a:defRPr>
                <a:solidFill>
                  <a:schemeClr val="tx1">
                    <a:tint val="75000"/>
                  </a:schemeClr>
                </a:solidFill>
              </a:defRPr>
            </a:lvl9pPr>
          </a:lstStyle>
          <a:p>
            <a:r>
              <a:rPr lang="en-US" altLang="ja-JP" dirty="0"/>
              <a:t>XXXXXX</a:t>
            </a:r>
            <a:r>
              <a:rPr lang="ja-JP" altLang="en-US" dirty="0"/>
              <a:t> </a:t>
            </a:r>
            <a:r>
              <a:rPr lang="en-US" altLang="ja-JP" dirty="0"/>
              <a:t>Research Laboratory,</a:t>
            </a:r>
          </a:p>
        </p:txBody>
      </p:sp>
      <p:sp>
        <p:nvSpPr>
          <p:cNvPr id="31" name="テキスト プレースホルダ 2">
            <a:extLst>
              <a:ext uri="{FF2B5EF4-FFF2-40B4-BE49-F238E27FC236}">
                <a16:creationId xmlns:a16="http://schemas.microsoft.com/office/drawing/2014/main" id="{80C80EA4-655D-4BA1-9C18-5BD4F19E3053}"/>
              </a:ext>
            </a:extLst>
          </p:cNvPr>
          <p:cNvSpPr>
            <a:spLocks noGrp="1"/>
          </p:cNvSpPr>
          <p:nvPr>
            <p:ph type="body" idx="14" hasCustomPrompt="1"/>
          </p:nvPr>
        </p:nvSpPr>
        <p:spPr>
          <a:xfrm>
            <a:off x="1907704" y="3232262"/>
            <a:ext cx="5609582" cy="355035"/>
          </a:xfrm>
        </p:spPr>
        <p:txBody>
          <a:bodyPr anchor="ctr" anchorCtr="0"/>
          <a:lstStyle>
            <a:lvl1pPr marL="0" indent="0">
              <a:buNone/>
              <a:defRPr sz="2000" b="1">
                <a:solidFill>
                  <a:schemeClr val="tx1"/>
                </a:solidFill>
              </a:defRPr>
            </a:lvl1pPr>
            <a:lvl2pPr marL="371455" indent="0">
              <a:buNone/>
              <a:defRPr sz="1625" b="1"/>
            </a:lvl2pPr>
            <a:lvl3pPr marL="742908" indent="0">
              <a:buNone/>
              <a:defRPr sz="1463" b="1"/>
            </a:lvl3pPr>
            <a:lvl4pPr marL="1114363" indent="0">
              <a:buNone/>
              <a:defRPr sz="1300" b="1"/>
            </a:lvl4pPr>
            <a:lvl5pPr marL="1485818" indent="0">
              <a:buNone/>
              <a:defRPr sz="1300" b="1"/>
            </a:lvl5pPr>
            <a:lvl6pPr marL="1857272" indent="0">
              <a:buNone/>
              <a:defRPr sz="1300" b="1"/>
            </a:lvl6pPr>
            <a:lvl7pPr marL="2228726" indent="0">
              <a:buNone/>
              <a:defRPr sz="1300" b="1"/>
            </a:lvl7pPr>
            <a:lvl8pPr marL="2600180" indent="0">
              <a:buNone/>
              <a:defRPr sz="1300" b="1"/>
            </a:lvl8pPr>
            <a:lvl9pPr marL="2971635" indent="0">
              <a:buNone/>
              <a:defRPr sz="1300" b="1"/>
            </a:lvl9pPr>
          </a:lstStyle>
          <a:p>
            <a:pPr lvl="0"/>
            <a:r>
              <a:rPr lang="en-US" altLang="ja-JP" dirty="0"/>
              <a:t>Taro </a:t>
            </a:r>
            <a:r>
              <a:rPr lang="en-US" altLang="ja-JP" dirty="0" err="1"/>
              <a:t>Denchuken</a:t>
            </a:r>
            <a:endParaRPr lang="ja-JP" altLang="en-US" dirty="0"/>
          </a:p>
        </p:txBody>
      </p:sp>
      <p:sp>
        <p:nvSpPr>
          <p:cNvPr id="32" name="テキスト ボックス 31">
            <a:extLst>
              <a:ext uri="{FF2B5EF4-FFF2-40B4-BE49-F238E27FC236}">
                <a16:creationId xmlns:a16="http://schemas.microsoft.com/office/drawing/2014/main" id="{3DDD866E-28D9-4852-A1CE-4DE34D4DDEE7}"/>
              </a:ext>
            </a:extLst>
          </p:cNvPr>
          <p:cNvSpPr txBox="1"/>
          <p:nvPr userDrawn="1"/>
        </p:nvSpPr>
        <p:spPr>
          <a:xfrm>
            <a:off x="1907543" y="4293096"/>
            <a:ext cx="5609743" cy="369332"/>
          </a:xfrm>
          <a:prstGeom prst="rect">
            <a:avLst/>
          </a:prstGeom>
          <a:noFill/>
        </p:spPr>
        <p:txBody>
          <a:bodyPr wrap="square" rtlCol="0">
            <a:spAutoFit/>
          </a:bodyPr>
          <a:lstStyle/>
          <a:p>
            <a:pPr algn="l"/>
            <a:r>
              <a:rPr kumimoji="1" lang="en-US" altLang="ja-JP" sz="1800" b="0" kern="1200" dirty="0">
                <a:solidFill>
                  <a:schemeClr val="tx1"/>
                </a:solidFill>
                <a:latin typeface="Arial" charset="0"/>
                <a:ea typeface="ＭＳ Ｐゴシック" charset="-128"/>
                <a:cs typeface="+mn-cs"/>
              </a:rPr>
              <a:t>Central Research Institute of Electric Power Industry</a:t>
            </a:r>
          </a:p>
        </p:txBody>
      </p:sp>
      <p:sp>
        <p:nvSpPr>
          <p:cNvPr id="33" name="コンテンツ プレースホルダー 5">
            <a:extLst>
              <a:ext uri="{FF2B5EF4-FFF2-40B4-BE49-F238E27FC236}">
                <a16:creationId xmlns:a16="http://schemas.microsoft.com/office/drawing/2014/main" id="{7A17CE13-CE98-4D0E-B9A8-C19AE17842D2}"/>
              </a:ext>
            </a:extLst>
          </p:cNvPr>
          <p:cNvSpPr>
            <a:spLocks noGrp="1"/>
          </p:cNvSpPr>
          <p:nvPr>
            <p:ph sz="quarter" idx="17" hasCustomPrompt="1"/>
          </p:nvPr>
        </p:nvSpPr>
        <p:spPr>
          <a:xfrm>
            <a:off x="1907704" y="5275231"/>
            <a:ext cx="5609582" cy="386023"/>
          </a:xfrm>
        </p:spPr>
        <p:txBody>
          <a:bodyPr/>
          <a:lstStyle>
            <a:lvl1pPr marL="0" marR="0" indent="0" algn="l" defTabSz="914377" rtl="0" eaLnBrk="1" fontAlgn="base" latinLnBrk="0" hangingPunct="1">
              <a:lnSpc>
                <a:spcPct val="100000"/>
              </a:lnSpc>
              <a:spcBef>
                <a:spcPts val="244"/>
              </a:spcBef>
              <a:spcAft>
                <a:spcPct val="0"/>
              </a:spcAft>
              <a:buClr>
                <a:schemeClr val="tx1"/>
              </a:buClr>
              <a:buSzTx/>
              <a:buFont typeface="Wingdings" panose="05000000000000000000" pitchFamily="2" charset="2"/>
              <a:buNone/>
              <a:tabLst/>
              <a:defRPr sz="1800">
                <a:solidFill>
                  <a:schemeClr val="tx1"/>
                </a:solidFill>
              </a:defRPr>
            </a:lvl1pPr>
          </a:lstStyle>
          <a:p>
            <a:pPr marL="0" marR="0" lvl="0" indent="0" algn="l" defTabSz="914377" rtl="0" eaLnBrk="1" fontAlgn="base" latinLnBrk="0" hangingPunct="1">
              <a:lnSpc>
                <a:spcPct val="100000"/>
              </a:lnSpc>
              <a:spcBef>
                <a:spcPts val="244"/>
              </a:spcBef>
              <a:spcAft>
                <a:spcPct val="0"/>
              </a:spcAft>
              <a:buClr>
                <a:schemeClr val="tx1"/>
              </a:buClr>
              <a:buSzTx/>
              <a:buFont typeface="Wingdings" panose="05000000000000000000" pitchFamily="2" charset="2"/>
              <a:buNone/>
              <a:tabLst/>
              <a:defRPr/>
            </a:pPr>
            <a:r>
              <a:rPr lang="en-US" altLang="ja-JP" dirty="0"/>
              <a:t>Month Day, Year</a:t>
            </a:r>
            <a:endParaRPr lang="ja-JP" altLang="en-US" dirty="0"/>
          </a:p>
        </p:txBody>
      </p:sp>
      <p:sp>
        <p:nvSpPr>
          <p:cNvPr id="34" name="コンテンツ プレースホルダー 5">
            <a:extLst>
              <a:ext uri="{FF2B5EF4-FFF2-40B4-BE49-F238E27FC236}">
                <a16:creationId xmlns:a16="http://schemas.microsoft.com/office/drawing/2014/main" id="{3D0B40B1-FC73-4926-9FDD-731F6DB35128}"/>
              </a:ext>
            </a:extLst>
          </p:cNvPr>
          <p:cNvSpPr>
            <a:spLocks noGrp="1"/>
          </p:cNvSpPr>
          <p:nvPr>
            <p:ph sz="quarter" idx="18" hasCustomPrompt="1"/>
          </p:nvPr>
        </p:nvSpPr>
        <p:spPr>
          <a:xfrm>
            <a:off x="1907704" y="4904998"/>
            <a:ext cx="5609582" cy="386023"/>
          </a:xfrm>
        </p:spPr>
        <p:txBody>
          <a:bodyPr/>
          <a:lstStyle>
            <a:lvl1pPr marL="0" indent="0">
              <a:buNone/>
              <a:defRPr sz="1800" b="1">
                <a:solidFill>
                  <a:schemeClr val="tx1"/>
                </a:solidFill>
              </a:defRPr>
            </a:lvl1pPr>
          </a:lstStyle>
          <a:p>
            <a:pPr lvl="0"/>
            <a:r>
              <a:rPr kumimoji="1" lang="en-US" altLang="ja-JP" dirty="0"/>
              <a:t>Seminar / Event</a:t>
            </a:r>
            <a:endParaRPr kumimoji="1" lang="ja-JP" altLang="en-US" dirty="0"/>
          </a:p>
        </p:txBody>
      </p:sp>
      <p:sp>
        <p:nvSpPr>
          <p:cNvPr id="35" name="コンテンツ プレースホルダー 29">
            <a:extLst>
              <a:ext uri="{FF2B5EF4-FFF2-40B4-BE49-F238E27FC236}">
                <a16:creationId xmlns:a16="http://schemas.microsoft.com/office/drawing/2014/main" id="{C383CB60-1F6C-4C20-8FAF-1F032E12E3C6}"/>
              </a:ext>
            </a:extLst>
          </p:cNvPr>
          <p:cNvSpPr>
            <a:spLocks noGrp="1"/>
          </p:cNvSpPr>
          <p:nvPr>
            <p:ph sz="quarter" idx="19" hasCustomPrompt="1"/>
          </p:nvPr>
        </p:nvSpPr>
        <p:spPr>
          <a:xfrm>
            <a:off x="1907704" y="3622737"/>
            <a:ext cx="5609582" cy="355035"/>
          </a:xfrm>
        </p:spPr>
        <p:txBody>
          <a:bodyPr/>
          <a:lstStyle>
            <a:lvl1pPr marL="0" indent="0">
              <a:buNone/>
              <a:defRPr sz="1800">
                <a:solidFill>
                  <a:schemeClr val="tx1"/>
                </a:solidFill>
              </a:defRPr>
            </a:lvl1pPr>
          </a:lstStyle>
          <a:p>
            <a:pPr lvl="0"/>
            <a:r>
              <a:rPr kumimoji="1" lang="en-US" altLang="ja-JP" dirty="0"/>
              <a:t>Research Scientist</a:t>
            </a:r>
            <a:endParaRPr kumimoji="1" lang="ja-JP" altLang="en-US" dirty="0"/>
          </a:p>
        </p:txBody>
      </p:sp>
      <p:sp>
        <p:nvSpPr>
          <p:cNvPr id="47" name="楕円 46">
            <a:extLst>
              <a:ext uri="{FF2B5EF4-FFF2-40B4-BE49-F238E27FC236}">
                <a16:creationId xmlns:a16="http://schemas.microsoft.com/office/drawing/2014/main" id="{627662F3-011D-4540-BA68-B3CA95106675}"/>
              </a:ext>
            </a:extLst>
          </p:cNvPr>
          <p:cNvSpPr/>
          <p:nvPr userDrawn="1"/>
        </p:nvSpPr>
        <p:spPr>
          <a:xfrm>
            <a:off x="7061200" y="53294"/>
            <a:ext cx="204552" cy="204552"/>
          </a:xfrm>
          <a:prstGeom prst="ellipse">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楕円 47">
            <a:extLst>
              <a:ext uri="{FF2B5EF4-FFF2-40B4-BE49-F238E27FC236}">
                <a16:creationId xmlns:a16="http://schemas.microsoft.com/office/drawing/2014/main" id="{1F66C7A9-BD48-4ECE-AFFD-CB9F755A5CD8}"/>
              </a:ext>
            </a:extLst>
          </p:cNvPr>
          <p:cNvSpPr/>
          <p:nvPr userDrawn="1"/>
        </p:nvSpPr>
        <p:spPr>
          <a:xfrm>
            <a:off x="7390822" y="53294"/>
            <a:ext cx="204552" cy="204552"/>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楕円 48">
            <a:extLst>
              <a:ext uri="{FF2B5EF4-FFF2-40B4-BE49-F238E27FC236}">
                <a16:creationId xmlns:a16="http://schemas.microsoft.com/office/drawing/2014/main" id="{FF1F0A21-AA26-4DF8-9C4C-D3F6457C4272}"/>
              </a:ext>
            </a:extLst>
          </p:cNvPr>
          <p:cNvSpPr/>
          <p:nvPr userDrawn="1"/>
        </p:nvSpPr>
        <p:spPr>
          <a:xfrm>
            <a:off x="7708235" y="53294"/>
            <a:ext cx="204552" cy="204552"/>
          </a:xfrm>
          <a:prstGeom prst="ellipse">
            <a:avLst/>
          </a:prstGeom>
          <a:solidFill>
            <a:srgbClr val="33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楕円 49">
            <a:extLst>
              <a:ext uri="{FF2B5EF4-FFF2-40B4-BE49-F238E27FC236}">
                <a16:creationId xmlns:a16="http://schemas.microsoft.com/office/drawing/2014/main" id="{7346643D-79FF-46C7-B73A-4ACCDE4A89E2}"/>
              </a:ext>
            </a:extLst>
          </p:cNvPr>
          <p:cNvSpPr/>
          <p:nvPr userDrawn="1"/>
        </p:nvSpPr>
        <p:spPr>
          <a:xfrm>
            <a:off x="8037857" y="53294"/>
            <a:ext cx="204552" cy="204552"/>
          </a:xfrm>
          <a:prstGeom prst="ellips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楕円 50">
            <a:extLst>
              <a:ext uri="{FF2B5EF4-FFF2-40B4-BE49-F238E27FC236}">
                <a16:creationId xmlns:a16="http://schemas.microsoft.com/office/drawing/2014/main" id="{06AFEA0F-976B-4F7F-8029-C8A76B468219}"/>
              </a:ext>
            </a:extLst>
          </p:cNvPr>
          <p:cNvSpPr/>
          <p:nvPr userDrawn="1"/>
        </p:nvSpPr>
        <p:spPr>
          <a:xfrm>
            <a:off x="8355270" y="53294"/>
            <a:ext cx="204552" cy="204552"/>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楕円 51">
            <a:extLst>
              <a:ext uri="{FF2B5EF4-FFF2-40B4-BE49-F238E27FC236}">
                <a16:creationId xmlns:a16="http://schemas.microsoft.com/office/drawing/2014/main" id="{C0E01FEE-F64A-4A76-A624-55C466BE852D}"/>
              </a:ext>
            </a:extLst>
          </p:cNvPr>
          <p:cNvSpPr/>
          <p:nvPr userDrawn="1"/>
        </p:nvSpPr>
        <p:spPr>
          <a:xfrm>
            <a:off x="8684892" y="53294"/>
            <a:ext cx="204552" cy="204552"/>
          </a:xfrm>
          <a:prstGeom prst="ellipse">
            <a:avLst/>
          </a:prstGeom>
          <a:solidFill>
            <a:srgbClr val="00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4_3B_bar.gif">
            <a:extLst>
              <a:ext uri="{FF2B5EF4-FFF2-40B4-BE49-F238E27FC236}">
                <a16:creationId xmlns:a16="http://schemas.microsoft.com/office/drawing/2014/main" id="{922E59D6-F666-446C-9610-6FD58031ADAD}"/>
              </a:ext>
            </a:extLst>
          </p:cNvPr>
          <p:cNvPicPr>
            <a:picLocks noChangeAspect="1"/>
          </p:cNvPicPr>
          <p:nvPr userDrawn="1"/>
        </p:nvPicPr>
        <p:blipFill>
          <a:blip r:embed="rId9"/>
          <a:stretch>
            <a:fillRect/>
          </a:stretch>
        </p:blipFill>
        <p:spPr>
          <a:xfrm>
            <a:off x="251523" y="39248"/>
            <a:ext cx="6684610" cy="228600"/>
          </a:xfrm>
          <a:prstGeom prst="rect">
            <a:avLst/>
          </a:prstGeom>
        </p:spPr>
      </p:pic>
    </p:spTree>
    <p:extLst>
      <p:ext uri="{BB962C8B-B14F-4D97-AF65-F5344CB8AC3E}">
        <p14:creationId xmlns:p14="http://schemas.microsoft.com/office/powerpoint/2010/main" val="16653124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5" name="フッター プレースホルダ 4">
            <a:extLst>
              <a:ext uri="{FF2B5EF4-FFF2-40B4-BE49-F238E27FC236}">
                <a16:creationId xmlns:a16="http://schemas.microsoft.com/office/drawing/2014/main" id="{1B638540-E8BF-2344-1D55-973DF9EE7618}"/>
              </a:ext>
            </a:extLst>
          </p:cNvPr>
          <p:cNvSpPr>
            <a:spLocks noGrp="1"/>
          </p:cNvSpPr>
          <p:nvPr>
            <p:ph type="ftr" sz="quarter" idx="11"/>
          </p:nvPr>
        </p:nvSpPr>
        <p:spPr>
          <a:xfrm>
            <a:off x="1028329" y="6543432"/>
            <a:ext cx="591344" cy="274324"/>
          </a:xfrm>
          <a:prstGeom prst="rect">
            <a:avLst/>
          </a:prstGeom>
        </p:spPr>
        <p:txBody>
          <a:bodyPr vert="horz" lIns="91440" tIns="45720" rIns="91440" bIns="45720" rtlCol="0" anchor="ctr"/>
          <a:lstStyle>
            <a:defPPr>
              <a:defRPr lang="ja-JP"/>
            </a:defPPr>
            <a:lvl1pPr algn="l" rtl="0" fontAlgn="auto">
              <a:spcBef>
                <a:spcPts val="0"/>
              </a:spcBef>
              <a:spcAft>
                <a:spcPts val="0"/>
              </a:spcAft>
              <a:defRPr kumimoji="1" sz="1200" b="1" kern="1200">
                <a:solidFill>
                  <a:schemeClr val="bg1">
                    <a:lumMod val="50000"/>
                  </a:schemeClr>
                </a:solidFill>
                <a:latin typeface="Century Gothic" pitchFamily="34" charset="0"/>
                <a:ea typeface="+mn-ea"/>
                <a:cs typeface="Arial" pitchFamily="34" charset="0"/>
              </a:defRPr>
            </a:lvl1pPr>
            <a:lvl2pPr marL="562705" algn="l" rtl="0" fontAlgn="base">
              <a:spcBef>
                <a:spcPct val="0"/>
              </a:spcBef>
              <a:spcAft>
                <a:spcPct val="0"/>
              </a:spcAft>
              <a:defRPr kumimoji="1" kern="1200">
                <a:solidFill>
                  <a:schemeClr val="tx1"/>
                </a:solidFill>
                <a:latin typeface="Arial" charset="0"/>
                <a:ea typeface="ＭＳ Ｐゴシック" charset="-128"/>
                <a:cs typeface="+mn-cs"/>
              </a:defRPr>
            </a:lvl2pPr>
            <a:lvl3pPr marL="1125411" algn="l" rtl="0" fontAlgn="base">
              <a:spcBef>
                <a:spcPct val="0"/>
              </a:spcBef>
              <a:spcAft>
                <a:spcPct val="0"/>
              </a:spcAft>
              <a:defRPr kumimoji="1" kern="1200">
                <a:solidFill>
                  <a:schemeClr val="tx1"/>
                </a:solidFill>
                <a:latin typeface="Arial" charset="0"/>
                <a:ea typeface="ＭＳ Ｐゴシック" charset="-128"/>
                <a:cs typeface="+mn-cs"/>
              </a:defRPr>
            </a:lvl3pPr>
            <a:lvl4pPr marL="1688112" algn="l" rtl="0" fontAlgn="base">
              <a:spcBef>
                <a:spcPct val="0"/>
              </a:spcBef>
              <a:spcAft>
                <a:spcPct val="0"/>
              </a:spcAft>
              <a:defRPr kumimoji="1" kern="1200">
                <a:solidFill>
                  <a:schemeClr val="tx1"/>
                </a:solidFill>
                <a:latin typeface="Arial" charset="0"/>
                <a:ea typeface="ＭＳ Ｐゴシック" charset="-128"/>
                <a:cs typeface="+mn-cs"/>
              </a:defRPr>
            </a:lvl4pPr>
            <a:lvl5pPr marL="2250818" algn="l" rtl="0" fontAlgn="base">
              <a:spcBef>
                <a:spcPct val="0"/>
              </a:spcBef>
              <a:spcAft>
                <a:spcPct val="0"/>
              </a:spcAft>
              <a:defRPr kumimoji="1" kern="1200">
                <a:solidFill>
                  <a:schemeClr val="tx1"/>
                </a:solidFill>
                <a:latin typeface="Arial" charset="0"/>
                <a:ea typeface="ＭＳ Ｐゴシック" charset="-128"/>
                <a:cs typeface="+mn-cs"/>
              </a:defRPr>
            </a:lvl5pPr>
            <a:lvl6pPr marL="2813523" algn="l" defTabSz="1125411" rtl="0" eaLnBrk="1" latinLnBrk="0" hangingPunct="1">
              <a:defRPr kumimoji="1" kern="1200">
                <a:solidFill>
                  <a:schemeClr val="tx1"/>
                </a:solidFill>
                <a:latin typeface="Arial" charset="0"/>
                <a:ea typeface="ＭＳ Ｐゴシック" charset="-128"/>
                <a:cs typeface="+mn-cs"/>
              </a:defRPr>
            </a:lvl6pPr>
            <a:lvl7pPr marL="3376226" algn="l" defTabSz="1125411" rtl="0" eaLnBrk="1" latinLnBrk="0" hangingPunct="1">
              <a:defRPr kumimoji="1" kern="1200">
                <a:solidFill>
                  <a:schemeClr val="tx1"/>
                </a:solidFill>
                <a:latin typeface="Arial" charset="0"/>
                <a:ea typeface="ＭＳ Ｐゴシック" charset="-128"/>
                <a:cs typeface="+mn-cs"/>
              </a:defRPr>
            </a:lvl7pPr>
            <a:lvl8pPr marL="3938931" algn="l" defTabSz="1125411" rtl="0" eaLnBrk="1" latinLnBrk="0" hangingPunct="1">
              <a:defRPr kumimoji="1" kern="1200">
                <a:solidFill>
                  <a:schemeClr val="tx1"/>
                </a:solidFill>
                <a:latin typeface="Arial" charset="0"/>
                <a:ea typeface="ＭＳ Ｐゴシック" charset="-128"/>
                <a:cs typeface="+mn-cs"/>
              </a:defRPr>
            </a:lvl8pPr>
            <a:lvl9pPr marL="4501635" algn="l" defTabSz="1125411" rtl="0" eaLnBrk="1" latinLnBrk="0" hangingPunct="1">
              <a:defRPr kumimoji="1" kern="1200">
                <a:solidFill>
                  <a:schemeClr val="tx1"/>
                </a:solidFill>
                <a:latin typeface="Arial" charset="0"/>
                <a:ea typeface="ＭＳ Ｐゴシック" charset="-128"/>
                <a:cs typeface="+mn-cs"/>
              </a:defRPr>
            </a:lvl9pPr>
          </a:lstStyle>
          <a:p>
            <a:pPr>
              <a:defRPr/>
            </a:pPr>
            <a:r>
              <a:rPr lang="en-US" altLang="ja-JP" dirty="0"/>
              <a:t>2025</a:t>
            </a:r>
            <a:endParaRPr lang="ja-JP" altLang="en-US" dirty="0"/>
          </a:p>
        </p:txBody>
      </p:sp>
      <p:graphicFrame>
        <p:nvGraphicFramePr>
          <p:cNvPr id="6" name="オブジェクト 5" hidden="1">
            <a:extLst>
              <a:ext uri="{FF2B5EF4-FFF2-40B4-BE49-F238E27FC236}">
                <a16:creationId xmlns:a16="http://schemas.microsoft.com/office/drawing/2014/main" id="{61133E61-B4FF-4268-AE06-99469B145BC5}"/>
              </a:ext>
            </a:extLst>
          </p:cNvPr>
          <p:cNvGraphicFramePr>
            <a:graphicFrameLocks noChangeAspect="1"/>
          </p:cNvGraphicFramePr>
          <p:nvPr userDrawn="1">
            <p:custDataLst>
              <p:tags r:id="rId1"/>
            </p:custDataLst>
            <p:extLst>
              <p:ext uri="{D42A27DB-BD31-4B8C-83A1-F6EECF244321}">
                <p14:modId xmlns:p14="http://schemas.microsoft.com/office/powerpoint/2010/main" val="1519840480"/>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61133E61-B4FF-4268-AE06-99469B145BC5}"/>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960A0A-092B-4319-8185-3AAFB8C1F062}"/>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3692"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722313" y="4406908"/>
            <a:ext cx="7772400" cy="1362075"/>
          </a:xfrm>
        </p:spPr>
        <p:txBody>
          <a:bodyPr vert="horz" anchor="t"/>
          <a:lstStyle>
            <a:lvl1pPr algn="l">
              <a:defRPr sz="3600" b="1" cap="all">
                <a:solidFill>
                  <a:schemeClr val="tx2"/>
                </a:solidFill>
              </a:defRPr>
            </a:lvl1pPr>
          </a:lstStyle>
          <a:p>
            <a:r>
              <a:rPr lang="en-US" altLang="ja-JP" dirty="0"/>
              <a:t>chapter title</a:t>
            </a:r>
            <a:endParaRPr lang="ja-JP" altLang="en-US" dirty="0"/>
          </a:p>
        </p:txBody>
      </p:sp>
      <p:sp>
        <p:nvSpPr>
          <p:cNvPr id="3" name="テキスト プレースホルダ 2"/>
          <p:cNvSpPr>
            <a:spLocks noGrp="1"/>
          </p:cNvSpPr>
          <p:nvPr>
            <p:ph type="body" idx="1" hasCustomPrompt="1"/>
          </p:nvPr>
        </p:nvSpPr>
        <p:spPr>
          <a:xfrm>
            <a:off x="722313" y="2906713"/>
            <a:ext cx="7772400" cy="1500187"/>
          </a:xfrm>
        </p:spPr>
        <p:txBody>
          <a:bodyPr anchor="b"/>
          <a:lstStyle>
            <a:lvl1pPr marL="0" indent="0">
              <a:buNone/>
              <a:defRPr sz="2000">
                <a:solidFill>
                  <a:schemeClr val="tx1"/>
                </a:solidFill>
              </a:defRPr>
            </a:lvl1pPr>
            <a:lvl2pPr marL="422028" indent="0">
              <a:buNone/>
              <a:defRPr sz="1661">
                <a:solidFill>
                  <a:schemeClr val="tx1">
                    <a:tint val="75000"/>
                  </a:schemeClr>
                </a:solidFill>
              </a:defRPr>
            </a:lvl2pPr>
            <a:lvl3pPr marL="844058" indent="0">
              <a:buNone/>
              <a:defRPr sz="1477">
                <a:solidFill>
                  <a:schemeClr val="tx1">
                    <a:tint val="75000"/>
                  </a:schemeClr>
                </a:solidFill>
              </a:defRPr>
            </a:lvl3pPr>
            <a:lvl4pPr marL="1266086" indent="0">
              <a:buNone/>
              <a:defRPr sz="1291">
                <a:solidFill>
                  <a:schemeClr val="tx1">
                    <a:tint val="75000"/>
                  </a:schemeClr>
                </a:solidFill>
              </a:defRPr>
            </a:lvl4pPr>
            <a:lvl5pPr marL="1688112" indent="0">
              <a:buNone/>
              <a:defRPr sz="1291">
                <a:solidFill>
                  <a:schemeClr val="tx1">
                    <a:tint val="75000"/>
                  </a:schemeClr>
                </a:solidFill>
              </a:defRPr>
            </a:lvl5pPr>
            <a:lvl6pPr marL="2110142" indent="0">
              <a:buNone/>
              <a:defRPr sz="1291">
                <a:solidFill>
                  <a:schemeClr val="tx1">
                    <a:tint val="75000"/>
                  </a:schemeClr>
                </a:solidFill>
              </a:defRPr>
            </a:lvl6pPr>
            <a:lvl7pPr marL="2532170" indent="0">
              <a:buNone/>
              <a:defRPr sz="1291">
                <a:solidFill>
                  <a:schemeClr val="tx1">
                    <a:tint val="75000"/>
                  </a:schemeClr>
                </a:solidFill>
              </a:defRPr>
            </a:lvl7pPr>
            <a:lvl8pPr marL="2954199" indent="0">
              <a:buNone/>
              <a:defRPr sz="1291">
                <a:solidFill>
                  <a:schemeClr val="tx1">
                    <a:tint val="75000"/>
                  </a:schemeClr>
                </a:solidFill>
              </a:defRPr>
            </a:lvl8pPr>
            <a:lvl9pPr marL="3376226" indent="0">
              <a:buNone/>
              <a:defRPr sz="1291">
                <a:solidFill>
                  <a:schemeClr val="tx1">
                    <a:tint val="75000"/>
                  </a:schemeClr>
                </a:solidFill>
              </a:defRPr>
            </a:lvl9pPr>
          </a:lstStyle>
          <a:p>
            <a:pPr lvl="0"/>
            <a:r>
              <a:rPr lang="en-US" altLang="ja-JP" dirty="0"/>
              <a:t>Chapter description</a:t>
            </a:r>
            <a:endParaRPr lang="ja-JP" altLang="en-US" dirty="0"/>
          </a:p>
        </p:txBody>
      </p:sp>
      <p:sp>
        <p:nvSpPr>
          <p:cNvPr id="8" name="スライド番号プレースホルダ 13">
            <a:extLst>
              <a:ext uri="{FF2B5EF4-FFF2-40B4-BE49-F238E27FC236}">
                <a16:creationId xmlns:a16="http://schemas.microsoft.com/office/drawing/2014/main" id="{547FA863-7A7D-4F05-9005-0B918C1D25D2}"/>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spTree>
    <p:extLst>
      <p:ext uri="{BB962C8B-B14F-4D97-AF65-F5344CB8AC3E}">
        <p14:creationId xmlns:p14="http://schemas.microsoft.com/office/powerpoint/2010/main" val="1609990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メッセージ＋本文">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A71F68-6513-415C-AD40-969E8BCEA238}"/>
              </a:ext>
            </a:extLst>
          </p:cNvPr>
          <p:cNvGraphicFramePr>
            <a:graphicFrameLocks noChangeAspect="1"/>
          </p:cNvGraphicFramePr>
          <p:nvPr userDrawn="1">
            <p:custDataLst>
              <p:tags r:id="rId1"/>
            </p:custDataLst>
            <p:extLst>
              <p:ext uri="{D42A27DB-BD31-4B8C-83A1-F6EECF244321}">
                <p14:modId xmlns:p14="http://schemas.microsoft.com/office/powerpoint/2010/main" val="98775620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6" name="オブジェクト 5" hidden="1">
                        <a:extLst>
                          <a:ext uri="{FF2B5EF4-FFF2-40B4-BE49-F238E27FC236}">
                            <a16:creationId xmlns:a16="http://schemas.microsoft.com/office/drawing/2014/main" id="{83A71F68-6513-415C-AD40-969E8BCEA238}"/>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83D3DEB-0D07-40CB-8FD6-719417EFB5BD}"/>
              </a:ext>
            </a:extLst>
          </p:cNvPr>
          <p:cNvSpPr/>
          <p:nvPr userDrawn="1">
            <p:custDataLst>
              <p:tags r:id="rId2"/>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200" b="1"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2" name="タイトル 1"/>
          <p:cNvSpPr>
            <a:spLocks noGrp="1"/>
          </p:cNvSpPr>
          <p:nvPr>
            <p:ph type="title" hasCustomPrompt="1"/>
          </p:nvPr>
        </p:nvSpPr>
        <p:spPr>
          <a:xfrm>
            <a:off x="374496" y="332656"/>
            <a:ext cx="8395015" cy="779116"/>
          </a:xfrm>
          <a:noFill/>
          <a:ln w="9525">
            <a:noFill/>
            <a:miter lim="800000"/>
            <a:headEnd/>
            <a:tailEnd/>
          </a:ln>
        </p:spPr>
        <p:txBody>
          <a:bodyPr vert="horz" wrap="square" lIns="36000" tIns="45720" rIns="91440" bIns="45720" numCol="1" anchor="ctr" anchorCtr="0" compatLnSpc="1">
            <a:prstTxWarp prst="textNoShape">
              <a:avLst/>
            </a:prstTxWarp>
          </a:bodyPr>
          <a:lstStyle>
            <a:lvl1pPr>
              <a:defRPr lang="ja-JP" altLang="en-US" sz="2400" b="1" dirty="0"/>
            </a:lvl1pPr>
          </a:lstStyle>
          <a:p>
            <a:pPr lvl="0" algn="l"/>
            <a:r>
              <a:rPr lang="en-US" altLang="ja-JP" dirty="0"/>
              <a:t>Slide title</a:t>
            </a:r>
            <a:r>
              <a:rPr lang="ja-JP" altLang="en-US" dirty="0"/>
              <a:t> </a:t>
            </a:r>
            <a:r>
              <a:rPr lang="en-US" altLang="ja-JP" dirty="0"/>
              <a:t>(in 1~2 lines) </a:t>
            </a:r>
            <a:endParaRPr lang="ja-JP" altLang="en-US" dirty="0"/>
          </a:p>
        </p:txBody>
      </p:sp>
      <p:sp>
        <p:nvSpPr>
          <p:cNvPr id="27" name="テキスト プレースホルダー 24">
            <a:extLst>
              <a:ext uri="{FF2B5EF4-FFF2-40B4-BE49-F238E27FC236}">
                <a16:creationId xmlns:a16="http://schemas.microsoft.com/office/drawing/2014/main" id="{FBD886BD-EA26-4C38-B6C1-6183E7C05962}"/>
              </a:ext>
            </a:extLst>
          </p:cNvPr>
          <p:cNvSpPr>
            <a:spLocks noGrp="1"/>
          </p:cNvSpPr>
          <p:nvPr>
            <p:ph type="body" sz="quarter" idx="16" hasCustomPrompt="1"/>
          </p:nvPr>
        </p:nvSpPr>
        <p:spPr>
          <a:xfrm>
            <a:off x="1102990" y="6598225"/>
            <a:ext cx="7285439" cy="206105"/>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en-US" altLang="ja-JP" dirty="0"/>
              <a:t>Source: ZZZZZ</a:t>
            </a:r>
            <a:endParaRPr kumimoji="1" lang="ja-JP" altLang="en-US" dirty="0"/>
          </a:p>
        </p:txBody>
      </p:sp>
      <p:sp>
        <p:nvSpPr>
          <p:cNvPr id="11" name="スライド番号プレースホルダ 13">
            <a:extLst>
              <a:ext uri="{FF2B5EF4-FFF2-40B4-BE49-F238E27FC236}">
                <a16:creationId xmlns:a16="http://schemas.microsoft.com/office/drawing/2014/main" id="{6C1633A3-41CC-4C11-8B3C-FED4B77DB9FC}"/>
              </a:ext>
            </a:extLst>
          </p:cNvPr>
          <p:cNvSpPr txBox="1">
            <a:spLocks/>
          </p:cNvSpPr>
          <p:nvPr userDrawn="1"/>
        </p:nvSpPr>
        <p:spPr>
          <a:xfrm>
            <a:off x="8388428" y="6560253"/>
            <a:ext cx="483179" cy="209162"/>
          </a:xfrm>
          <a:prstGeom prst="rect">
            <a:avLst/>
          </a:prstGeom>
        </p:spPr>
        <p:txBody>
          <a:bodyPr vert="horz" lIns="112543" tIns="56271" rIns="112543" bIns="56271" rtlCol="0" anchor="ctr"/>
          <a:lstStyle>
            <a:defPPr>
              <a:defRPr lang="ja-JP"/>
            </a:defPPr>
            <a:lvl1pPr algn="r">
              <a:defRPr sz="1150">
                <a:solidFill>
                  <a:srgbClr val="7F7F7F"/>
                </a:solidFill>
                <a:latin typeface="+mn-lt"/>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lvl="0"/>
            <a:fld id="{BEE7E999-D39D-4DC4-8260-5547312FA60C}" type="slidenum">
              <a:rPr lang="en-US" altLang="ja-JP" sz="1416" smtClean="0"/>
              <a:pPr lvl="0"/>
              <a:t>‹#›</a:t>
            </a:fld>
            <a:endParaRPr lang="en-US" sz="1416" dirty="0"/>
          </a:p>
        </p:txBody>
      </p:sp>
      <p:pic>
        <p:nvPicPr>
          <p:cNvPr id="12" name="図 11" descr="タイプB中ページライン.png">
            <a:extLst>
              <a:ext uri="{FF2B5EF4-FFF2-40B4-BE49-F238E27FC236}">
                <a16:creationId xmlns:a16="http://schemas.microsoft.com/office/drawing/2014/main" id="{046A9D12-5B6A-4AEF-9FCC-0C8551F73D7B}"/>
              </a:ext>
            </a:extLst>
          </p:cNvPr>
          <p:cNvPicPr>
            <a:picLocks noChangeAspect="1"/>
          </p:cNvPicPr>
          <p:nvPr userDrawn="1"/>
        </p:nvPicPr>
        <p:blipFill>
          <a:blip r:embed="rId6" cstate="print">
            <a:extLst>
              <a:ext uri="{28A0092B-C50C-407E-A947-70E740481C1C}">
                <a14:useLocalDpi xmlns:a14="http://schemas.microsoft.com/office/drawing/2010/main"/>
              </a:ext>
            </a:extLst>
          </a:blip>
          <a:srcRect t="-275031" b="-275031"/>
          <a:stretch>
            <a:fillRect/>
          </a:stretch>
        </p:blipFill>
        <p:spPr bwMode="auto">
          <a:xfrm>
            <a:off x="250825" y="1052513"/>
            <a:ext cx="8656638"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テキスト プレースホルダー 21">
            <a:extLst>
              <a:ext uri="{FF2B5EF4-FFF2-40B4-BE49-F238E27FC236}">
                <a16:creationId xmlns:a16="http://schemas.microsoft.com/office/drawing/2014/main" id="{7B43D4A4-9D9D-4FCE-8540-8FD496759497}"/>
              </a:ext>
            </a:extLst>
          </p:cNvPr>
          <p:cNvSpPr>
            <a:spLocks noGrp="1"/>
          </p:cNvSpPr>
          <p:nvPr>
            <p:ph type="body" sz="quarter" idx="15" hasCustomPrompt="1"/>
          </p:nvPr>
        </p:nvSpPr>
        <p:spPr>
          <a:xfrm>
            <a:off x="374496" y="6274340"/>
            <a:ext cx="8395015" cy="251004"/>
          </a:xfrm>
        </p:spPr>
        <p:txBody>
          <a:bodyPr anchor="b"/>
          <a:lstStyle>
            <a:lvl1pPr marL="0" indent="0">
              <a:buNone/>
              <a:defRPr sz="1100">
                <a:solidFill>
                  <a:schemeClr val="tx1"/>
                </a:solidFill>
              </a:defRPr>
            </a:lvl1pPr>
            <a:lvl2pPr>
              <a:defRPr sz="923"/>
            </a:lvl2pPr>
            <a:lvl3pPr>
              <a:defRPr sz="923"/>
            </a:lvl3pPr>
            <a:lvl4pPr>
              <a:defRPr sz="923"/>
            </a:lvl4pPr>
            <a:lvl5pPr>
              <a:defRPr sz="923"/>
            </a:lvl5pPr>
          </a:lstStyle>
          <a:p>
            <a:pPr lvl="0"/>
            <a:r>
              <a:rPr kumimoji="1" lang="en-US" altLang="ja-JP" dirty="0"/>
              <a:t>Footnote: 1. </a:t>
            </a:r>
            <a:r>
              <a:rPr kumimoji="1" lang="en-US" altLang="ja-JP" dirty="0" err="1"/>
              <a:t>xxxxx</a:t>
            </a:r>
            <a:r>
              <a:rPr kumimoji="1" lang="ja-JP" altLang="en-US" dirty="0"/>
              <a:t>、</a:t>
            </a:r>
            <a:r>
              <a:rPr kumimoji="1" lang="en-US" altLang="ja-JP" dirty="0"/>
              <a:t>2. YYYYY</a:t>
            </a:r>
            <a:endParaRPr kumimoji="1" lang="ja-JP" altLang="en-US" dirty="0"/>
          </a:p>
        </p:txBody>
      </p:sp>
      <p:sp>
        <p:nvSpPr>
          <p:cNvPr id="14" name="コンテンツ プレースホルダ 2">
            <a:extLst>
              <a:ext uri="{FF2B5EF4-FFF2-40B4-BE49-F238E27FC236}">
                <a16:creationId xmlns:a16="http://schemas.microsoft.com/office/drawing/2014/main" id="{B59EB27F-AC90-4261-A5A5-2AB0D8BDE9D4}"/>
              </a:ext>
            </a:extLst>
          </p:cNvPr>
          <p:cNvSpPr>
            <a:spLocks noGrp="1"/>
          </p:cNvSpPr>
          <p:nvPr>
            <p:ph idx="1" hasCustomPrompt="1"/>
          </p:nvPr>
        </p:nvSpPr>
        <p:spPr>
          <a:xfrm>
            <a:off x="374496" y="1273636"/>
            <a:ext cx="8395015" cy="1003236"/>
          </a:xfrm>
          <a:solidFill>
            <a:schemeClr val="accent2">
              <a:lumMod val="20000"/>
              <a:lumOff val="80000"/>
            </a:schemeClr>
          </a:solidFill>
        </p:spPr>
        <p:txBody>
          <a:bodyPr/>
          <a:lstStyle>
            <a:lvl1pPr>
              <a:buClrTx/>
              <a:defRPr sz="1600">
                <a:solidFill>
                  <a:schemeClr val="tx1"/>
                </a:solidFill>
              </a:defRPr>
            </a:lvl1pPr>
            <a:lvl2pPr>
              <a:buClrTx/>
              <a:defRPr sz="1600">
                <a:solidFill>
                  <a:schemeClr val="tx1"/>
                </a:solidFill>
              </a:defRPr>
            </a:lvl2pPr>
            <a:lvl3pPr>
              <a:buClrTx/>
              <a:defRPr sz="1600">
                <a:solidFill>
                  <a:schemeClr val="tx1"/>
                </a:solidFill>
              </a:defRPr>
            </a:lvl3pPr>
            <a:lvl4pPr>
              <a:buClrTx/>
              <a:defRPr sz="1600">
                <a:solidFill>
                  <a:schemeClr val="tx1"/>
                </a:solidFill>
              </a:defRPr>
            </a:lvl4pPr>
            <a:lvl5pPr>
              <a:buClrTx/>
              <a:defRPr sz="1600">
                <a:solidFill>
                  <a:schemeClr val="tx1"/>
                </a:solidFill>
              </a:defRPr>
            </a:lvl5pPr>
          </a:lstStyle>
          <a:p>
            <a:pPr lvl="0"/>
            <a:r>
              <a:rPr lang="en-US" altLang="ja-JP" dirty="0"/>
              <a:t>Message line (in 3</a:t>
            </a:r>
            <a:r>
              <a:rPr lang="ja-JP" altLang="en-US" dirty="0"/>
              <a:t> </a:t>
            </a:r>
            <a:r>
              <a:rPr lang="en-US" altLang="ja-JP" dirty="0"/>
              <a:t>lines)</a:t>
            </a:r>
            <a:endParaRPr lang="ja-JP" altLang="en-US" dirty="0"/>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5" name="テキスト プレースホルダー 15">
            <a:extLst>
              <a:ext uri="{FF2B5EF4-FFF2-40B4-BE49-F238E27FC236}">
                <a16:creationId xmlns:a16="http://schemas.microsoft.com/office/drawing/2014/main" id="{FD76A6E7-A61A-4D1E-A23C-F8333B6D1600}"/>
              </a:ext>
            </a:extLst>
          </p:cNvPr>
          <p:cNvSpPr>
            <a:spLocks noGrp="1"/>
          </p:cNvSpPr>
          <p:nvPr>
            <p:ph type="body" sz="quarter" idx="14"/>
          </p:nvPr>
        </p:nvSpPr>
        <p:spPr>
          <a:xfrm>
            <a:off x="374496" y="2487947"/>
            <a:ext cx="8395015" cy="3677363"/>
          </a:xfrm>
        </p:spPr>
        <p:txBody>
          <a:bodyPr/>
          <a:lstStyle>
            <a:lvl1pPr>
              <a:buClrTx/>
              <a:defRPr sz="1600">
                <a:solidFill>
                  <a:schemeClr val="tx1"/>
                </a:solidFill>
              </a:defRPr>
            </a:lvl1pPr>
            <a:lvl2pPr>
              <a:buClrTx/>
              <a:defRPr sz="1600">
                <a:solidFill>
                  <a:schemeClr val="tx1"/>
                </a:solidFill>
              </a:defRPr>
            </a:lvl2pPr>
            <a:lvl3pPr>
              <a:buClrTx/>
              <a:defRPr sz="1600">
                <a:solidFill>
                  <a:schemeClr val="tx1"/>
                </a:solidFill>
              </a:defRPr>
            </a:lvl3pPr>
            <a:lvl4pPr>
              <a:buClrTx/>
              <a:defRPr sz="1600">
                <a:solidFill>
                  <a:schemeClr val="tx1"/>
                </a:solidFill>
              </a:defRPr>
            </a:lvl4pPr>
            <a:lvl5pPr>
              <a:buClrTx/>
              <a:defRPr sz="1600">
                <a:solidFill>
                  <a:schemeClr val="tx1"/>
                </a:solidFill>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20" name="テキスト プレースホルダー 8">
            <a:extLst>
              <a:ext uri="{FF2B5EF4-FFF2-40B4-BE49-F238E27FC236}">
                <a16:creationId xmlns:a16="http://schemas.microsoft.com/office/drawing/2014/main" id="{A4EA98AC-066A-4327-9AAE-43C5E5588449}"/>
              </a:ext>
            </a:extLst>
          </p:cNvPr>
          <p:cNvSpPr>
            <a:spLocks noGrp="1"/>
          </p:cNvSpPr>
          <p:nvPr>
            <p:ph type="body" sz="quarter" idx="17" hasCustomPrompt="1"/>
          </p:nvPr>
        </p:nvSpPr>
        <p:spPr>
          <a:xfrm>
            <a:off x="1" y="88906"/>
            <a:ext cx="3096344" cy="244475"/>
          </a:xfrm>
          <a:prstGeom prst="trapezoid">
            <a:avLst>
              <a:gd name="adj" fmla="val 44895"/>
            </a:avLst>
          </a:prstGeom>
          <a:solidFill>
            <a:srgbClr val="FFFFFF"/>
          </a:solidFill>
        </p:spPr>
        <p:txBody>
          <a:bodyPr tIns="18000"/>
          <a:lstStyle>
            <a:lvl1pPr>
              <a:buClr>
                <a:schemeClr val="bg1"/>
              </a:buClr>
              <a:defRPr sz="1400"/>
            </a:lvl1pPr>
            <a:lvl2pPr marL="265844" indent="0">
              <a:buNone/>
              <a:defRPr sz="1400"/>
            </a:lvl2pPr>
            <a:lvl3pPr>
              <a:defRPr sz="1400"/>
            </a:lvl3pPr>
            <a:lvl4pPr>
              <a:defRPr sz="1400"/>
            </a:lvl4pPr>
            <a:lvl5pPr>
              <a:defRPr sz="1400"/>
            </a:lvl5pPr>
          </a:lstStyle>
          <a:p>
            <a:pPr lvl="0"/>
            <a:r>
              <a:rPr kumimoji="1" lang="en-US" altLang="ja-JP" dirty="0"/>
              <a:t>Chapter title</a:t>
            </a:r>
            <a:endParaRPr kumimoji="1" lang="ja-JP" altLang="en-US" dirty="0"/>
          </a:p>
        </p:txBody>
      </p:sp>
      <p:sp>
        <p:nvSpPr>
          <p:cNvPr id="3" name="フッター プレースホルダ 4">
            <a:extLst>
              <a:ext uri="{FF2B5EF4-FFF2-40B4-BE49-F238E27FC236}">
                <a16:creationId xmlns:a16="http://schemas.microsoft.com/office/drawing/2014/main" id="{6D51E3D9-19B6-D431-982D-F26F4B12F177}"/>
              </a:ext>
            </a:extLst>
          </p:cNvPr>
          <p:cNvSpPr>
            <a:spLocks noGrp="1"/>
          </p:cNvSpPr>
          <p:nvPr>
            <p:ph type="ftr" sz="quarter" idx="11"/>
          </p:nvPr>
        </p:nvSpPr>
        <p:spPr>
          <a:xfrm>
            <a:off x="1028329" y="6543432"/>
            <a:ext cx="591344" cy="274324"/>
          </a:xfrm>
          <a:prstGeom prst="rect">
            <a:avLst/>
          </a:prstGeom>
        </p:spPr>
        <p:txBody>
          <a:bodyPr vert="horz" lIns="91440" tIns="45720" rIns="91440" bIns="45720" rtlCol="0" anchor="ctr"/>
          <a:lstStyle>
            <a:defPPr>
              <a:defRPr lang="ja-JP"/>
            </a:defPPr>
            <a:lvl1pPr algn="l" rtl="0" fontAlgn="auto">
              <a:spcBef>
                <a:spcPts val="0"/>
              </a:spcBef>
              <a:spcAft>
                <a:spcPts val="0"/>
              </a:spcAft>
              <a:defRPr kumimoji="1" sz="1200" b="1" kern="1200">
                <a:solidFill>
                  <a:schemeClr val="bg1">
                    <a:lumMod val="50000"/>
                  </a:schemeClr>
                </a:solidFill>
                <a:latin typeface="Century Gothic" pitchFamily="34" charset="0"/>
                <a:ea typeface="+mn-ea"/>
                <a:cs typeface="Arial" pitchFamily="34" charset="0"/>
              </a:defRPr>
            </a:lvl1pPr>
            <a:lvl2pPr marL="562705" algn="l" rtl="0" fontAlgn="base">
              <a:spcBef>
                <a:spcPct val="0"/>
              </a:spcBef>
              <a:spcAft>
                <a:spcPct val="0"/>
              </a:spcAft>
              <a:defRPr kumimoji="1" kern="1200">
                <a:solidFill>
                  <a:schemeClr val="tx1"/>
                </a:solidFill>
                <a:latin typeface="Arial" charset="0"/>
                <a:ea typeface="ＭＳ Ｐゴシック" charset="-128"/>
                <a:cs typeface="+mn-cs"/>
              </a:defRPr>
            </a:lvl2pPr>
            <a:lvl3pPr marL="1125411" algn="l" rtl="0" fontAlgn="base">
              <a:spcBef>
                <a:spcPct val="0"/>
              </a:spcBef>
              <a:spcAft>
                <a:spcPct val="0"/>
              </a:spcAft>
              <a:defRPr kumimoji="1" kern="1200">
                <a:solidFill>
                  <a:schemeClr val="tx1"/>
                </a:solidFill>
                <a:latin typeface="Arial" charset="0"/>
                <a:ea typeface="ＭＳ Ｐゴシック" charset="-128"/>
                <a:cs typeface="+mn-cs"/>
              </a:defRPr>
            </a:lvl3pPr>
            <a:lvl4pPr marL="1688112" algn="l" rtl="0" fontAlgn="base">
              <a:spcBef>
                <a:spcPct val="0"/>
              </a:spcBef>
              <a:spcAft>
                <a:spcPct val="0"/>
              </a:spcAft>
              <a:defRPr kumimoji="1" kern="1200">
                <a:solidFill>
                  <a:schemeClr val="tx1"/>
                </a:solidFill>
                <a:latin typeface="Arial" charset="0"/>
                <a:ea typeface="ＭＳ Ｐゴシック" charset="-128"/>
                <a:cs typeface="+mn-cs"/>
              </a:defRPr>
            </a:lvl4pPr>
            <a:lvl5pPr marL="2250818" algn="l" rtl="0" fontAlgn="base">
              <a:spcBef>
                <a:spcPct val="0"/>
              </a:spcBef>
              <a:spcAft>
                <a:spcPct val="0"/>
              </a:spcAft>
              <a:defRPr kumimoji="1" kern="1200">
                <a:solidFill>
                  <a:schemeClr val="tx1"/>
                </a:solidFill>
                <a:latin typeface="Arial" charset="0"/>
                <a:ea typeface="ＭＳ Ｐゴシック" charset="-128"/>
                <a:cs typeface="+mn-cs"/>
              </a:defRPr>
            </a:lvl5pPr>
            <a:lvl6pPr marL="2813523" algn="l" defTabSz="1125411" rtl="0" eaLnBrk="1" latinLnBrk="0" hangingPunct="1">
              <a:defRPr kumimoji="1" kern="1200">
                <a:solidFill>
                  <a:schemeClr val="tx1"/>
                </a:solidFill>
                <a:latin typeface="Arial" charset="0"/>
                <a:ea typeface="ＭＳ Ｐゴシック" charset="-128"/>
                <a:cs typeface="+mn-cs"/>
              </a:defRPr>
            </a:lvl6pPr>
            <a:lvl7pPr marL="3376226" algn="l" defTabSz="1125411" rtl="0" eaLnBrk="1" latinLnBrk="0" hangingPunct="1">
              <a:defRPr kumimoji="1" kern="1200">
                <a:solidFill>
                  <a:schemeClr val="tx1"/>
                </a:solidFill>
                <a:latin typeface="Arial" charset="0"/>
                <a:ea typeface="ＭＳ Ｐゴシック" charset="-128"/>
                <a:cs typeface="+mn-cs"/>
              </a:defRPr>
            </a:lvl7pPr>
            <a:lvl8pPr marL="3938931" algn="l" defTabSz="1125411" rtl="0" eaLnBrk="1" latinLnBrk="0" hangingPunct="1">
              <a:defRPr kumimoji="1" kern="1200">
                <a:solidFill>
                  <a:schemeClr val="tx1"/>
                </a:solidFill>
                <a:latin typeface="Arial" charset="0"/>
                <a:ea typeface="ＭＳ Ｐゴシック" charset="-128"/>
                <a:cs typeface="+mn-cs"/>
              </a:defRPr>
            </a:lvl8pPr>
            <a:lvl9pPr marL="4501635" algn="l" defTabSz="1125411" rtl="0" eaLnBrk="1" latinLnBrk="0" hangingPunct="1">
              <a:defRPr kumimoji="1" kern="1200">
                <a:solidFill>
                  <a:schemeClr val="tx1"/>
                </a:solidFill>
                <a:latin typeface="Arial" charset="0"/>
                <a:ea typeface="ＭＳ Ｐゴシック" charset="-128"/>
                <a:cs typeface="+mn-cs"/>
              </a:defRPr>
            </a:lvl9pPr>
          </a:lstStyle>
          <a:p>
            <a:pPr>
              <a:defRPr/>
            </a:pPr>
            <a:r>
              <a:rPr lang="en-US" altLang="ja-JP" dirty="0"/>
              <a:t>2025</a:t>
            </a:r>
            <a:endParaRPr lang="ja-JP" altLang="en-US" dirty="0"/>
          </a:p>
        </p:txBody>
      </p:sp>
    </p:spTree>
    <p:extLst>
      <p:ext uri="{BB962C8B-B14F-4D97-AF65-F5344CB8AC3E}">
        <p14:creationId xmlns:p14="http://schemas.microsoft.com/office/powerpoint/2010/main" val="121251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tags" Target="../tags/tag16.xml"/><Relationship Id="rId12"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image" Target="../media/image2.png"/><Relationship Id="rId5" Type="http://schemas.openxmlformats.org/officeDocument/2006/relationships/slideLayout" Target="../slideLayouts/slideLayout11.xml"/><Relationship Id="rId10" Type="http://schemas.openxmlformats.org/officeDocument/2006/relationships/image" Target="../media/image1.emf"/><Relationship Id="rId4" Type="http://schemas.openxmlformats.org/officeDocument/2006/relationships/slideLayout" Target="../slideLayouts/slideLayout10.xml"/><Relationship Id="rId9" Type="http://schemas.openxmlformats.org/officeDocument/2006/relationships/oleObject" Target="../embeddings/oleObject1.bin"/><Relationship Id="rId14" Type="http://schemas.openxmlformats.org/officeDocument/2006/relationships/image" Target="../media/image10.tif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14.tiff"/><Relationship Id="rId3" Type="http://schemas.openxmlformats.org/officeDocument/2006/relationships/slideLayout" Target="../slideLayouts/slideLayout14.xml"/><Relationship Id="rId7" Type="http://schemas.openxmlformats.org/officeDocument/2006/relationships/tags" Target="../tags/tag28.xml"/><Relationship Id="rId12" Type="http://schemas.openxmlformats.org/officeDocument/2006/relationships/image" Target="../media/image13.gi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11" Type="http://schemas.openxmlformats.org/officeDocument/2006/relationships/image" Target="../media/image12.gif"/><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1.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13.gif"/><Relationship Id="rId3" Type="http://schemas.openxmlformats.org/officeDocument/2006/relationships/slideLayout" Target="../slideLayouts/slideLayout19.xml"/><Relationship Id="rId7" Type="http://schemas.openxmlformats.org/officeDocument/2006/relationships/tags" Target="../tags/tag40.xml"/><Relationship Id="rId12" Type="http://schemas.openxmlformats.org/officeDocument/2006/relationships/image" Target="../media/image10.tif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4.xml"/><Relationship Id="rId11" Type="http://schemas.openxmlformats.org/officeDocument/2006/relationships/image" Target="../media/image16.gif"/><Relationship Id="rId5" Type="http://schemas.openxmlformats.org/officeDocument/2006/relationships/slideLayout" Target="../slideLayouts/slideLayout21.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63CC2770-6CAA-4391-B269-187D7EF57FB3}"/>
              </a:ext>
            </a:extLst>
          </p:cNvPr>
          <p:cNvGraphicFramePr>
            <a:graphicFrameLocks noChangeAspect="1"/>
          </p:cNvGraphicFramePr>
          <p:nvPr userDrawn="1">
            <p:custDataLst>
              <p:tags r:id="rId8"/>
            </p:custDataLst>
            <p:extLst>
              <p:ext uri="{D42A27DB-BD31-4B8C-83A1-F6EECF244321}">
                <p14:modId xmlns:p14="http://schemas.microsoft.com/office/powerpoint/2010/main" val="306708826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10" imgW="360" imgH="360" progId="TCLayout.ActiveDocument.1">
                  <p:embed/>
                </p:oleObj>
              </mc:Choice>
              <mc:Fallback>
                <p:oleObj name="think-cell スライド" r:id="rId10" imgW="360" imgH="360" progId="TCLayout.ActiveDocument.1">
                  <p:embed/>
                  <p:pic>
                    <p:nvPicPr>
                      <p:cNvPr id="7" name="オブジェクト 6" hidden="1">
                        <a:extLst>
                          <a:ext uri="{FF2B5EF4-FFF2-40B4-BE49-F238E27FC236}">
                            <a16:creationId xmlns:a16="http://schemas.microsoft.com/office/drawing/2014/main" id="{63CC2770-6CAA-4391-B269-187D7EF57FB3}"/>
                          </a:ext>
                        </a:extLst>
                      </p:cNvPr>
                      <p:cNvPicPr/>
                      <p:nvPr/>
                    </p:nvPicPr>
                    <p:blipFill>
                      <a:blip r:embed="rId11"/>
                      <a:stretch>
                        <a:fillRect/>
                      </a:stretch>
                    </p:blipFill>
                    <p:spPr>
                      <a:xfrm>
                        <a:off x="1590" y="1589"/>
                        <a:ext cx="1588" cy="1588"/>
                      </a:xfrm>
                      <a:prstGeom prst="rect">
                        <a:avLst/>
                      </a:prstGeom>
                    </p:spPr>
                  </p:pic>
                </p:oleObj>
              </mc:Fallback>
            </mc:AlternateContent>
          </a:graphicData>
        </a:graphic>
      </p:graphicFrame>
      <p:sp>
        <p:nvSpPr>
          <p:cNvPr id="6" name="正方形/長方形 5" hidden="1">
            <a:extLst>
              <a:ext uri="{FF2B5EF4-FFF2-40B4-BE49-F238E27FC236}">
                <a16:creationId xmlns:a16="http://schemas.microsoft.com/office/drawing/2014/main" id="{3440F440-ADE6-41E3-A456-AF062FB7F88D}"/>
              </a:ext>
            </a:extLst>
          </p:cNvPr>
          <p:cNvSpPr/>
          <p:nvPr userDrawn="1">
            <p:custDataLst>
              <p:tags r:id="rId9"/>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200" b="0"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1026" name="タイトル プレースホルダ 1"/>
          <p:cNvSpPr>
            <a:spLocks noGrp="1"/>
          </p:cNvSpPr>
          <p:nvPr>
            <p:ph type="title"/>
          </p:nvPr>
        </p:nvSpPr>
        <p:spPr bwMode="auto">
          <a:xfrm>
            <a:off x="457200" y="404664"/>
            <a:ext cx="8229600" cy="72008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dirty="0"/>
              <a:t>マスター タイトルの書式設定</a:t>
            </a:r>
          </a:p>
        </p:txBody>
      </p:sp>
      <p:sp>
        <p:nvSpPr>
          <p:cNvPr id="1027" name="テキスト プレースホルダ 2"/>
          <p:cNvSpPr>
            <a:spLocks noGrp="1"/>
          </p:cNvSpPr>
          <p:nvPr>
            <p:ph type="body" idx="1"/>
          </p:nvPr>
        </p:nvSpPr>
        <p:spPr bwMode="auto">
          <a:xfrm>
            <a:off x="457200" y="1268761"/>
            <a:ext cx="8229600" cy="50405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23" name="フッター プレースホルダ 4">
            <a:extLst>
              <a:ext uri="{FF2B5EF4-FFF2-40B4-BE49-F238E27FC236}">
                <a16:creationId xmlns:a16="http://schemas.microsoft.com/office/drawing/2014/main" id="{B645968D-841B-4C74-BB23-AF28AEC95143}"/>
              </a:ext>
            </a:extLst>
          </p:cNvPr>
          <p:cNvSpPr txBox="1">
            <a:spLocks/>
          </p:cNvSpPr>
          <p:nvPr userDrawn="1"/>
        </p:nvSpPr>
        <p:spPr>
          <a:xfrm>
            <a:off x="959503" y="6560253"/>
            <a:ext cx="588167" cy="209162"/>
          </a:xfrm>
          <a:prstGeom prst="rect">
            <a:avLst/>
          </a:prstGeom>
        </p:spPr>
        <p:txBody>
          <a:bodyPr vert="horz" lIns="112543" tIns="56271" rIns="112543" bIns="56271" rtlCol="0" anchor="ctr"/>
          <a:lstStyle>
            <a:defPPr>
              <a:defRPr lang="ja-JP"/>
            </a:defPPr>
            <a:lvl1pPr algn="l" rtl="0" fontAlgn="auto">
              <a:spcBef>
                <a:spcPts val="0"/>
              </a:spcBef>
              <a:spcAft>
                <a:spcPts val="0"/>
              </a:spcAft>
              <a:defRPr kumimoji="1" sz="1100" b="1" kern="1200">
                <a:solidFill>
                  <a:schemeClr val="bg1"/>
                </a:solidFill>
                <a:latin typeface="+mn-lt"/>
                <a:ea typeface="+mn-ea"/>
                <a:cs typeface="Arial" pitchFamily="34" charset="0"/>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a:defRPr/>
            </a:pPr>
            <a:r>
              <a:rPr lang="en-US" altLang="ja-JP" sz="1353" dirty="0"/>
              <a:t>2020</a:t>
            </a:r>
            <a:endParaRPr lang="ja-JP" altLang="en-US" sz="1353" dirty="0"/>
          </a:p>
        </p:txBody>
      </p:sp>
      <p:grpSp>
        <p:nvGrpSpPr>
          <p:cNvPr id="11" name="グループ化 22">
            <a:extLst>
              <a:ext uri="{FF2B5EF4-FFF2-40B4-BE49-F238E27FC236}">
                <a16:creationId xmlns:a16="http://schemas.microsoft.com/office/drawing/2014/main" id="{12FB05A7-1E07-45A8-B695-F5410490AECB}"/>
              </a:ext>
            </a:extLst>
          </p:cNvPr>
          <p:cNvGrpSpPr>
            <a:grpSpLocks/>
          </p:cNvGrpSpPr>
          <p:nvPr userDrawn="1"/>
        </p:nvGrpSpPr>
        <p:grpSpPr bwMode="auto">
          <a:xfrm>
            <a:off x="250827" y="39688"/>
            <a:ext cx="8642350" cy="6716712"/>
            <a:chOff x="251520" y="39248"/>
            <a:chExt cx="8640960" cy="6716587"/>
          </a:xfrm>
        </p:grpSpPr>
        <p:pic>
          <p:nvPicPr>
            <p:cNvPr id="12" name="図 21" descr="4_3B_bar.gif">
              <a:extLst>
                <a:ext uri="{FF2B5EF4-FFF2-40B4-BE49-F238E27FC236}">
                  <a16:creationId xmlns:a16="http://schemas.microsoft.com/office/drawing/2014/main" id="{DF17E390-7EE6-44D7-B48D-142174ABC5D4}"/>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251520" y="39248"/>
              <a:ext cx="6791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グループ化 17">
              <a:extLst>
                <a:ext uri="{FF2B5EF4-FFF2-40B4-BE49-F238E27FC236}">
                  <a16:creationId xmlns:a16="http://schemas.microsoft.com/office/drawing/2014/main" id="{59DD7B84-85D8-4425-A417-3018742F2221}"/>
                </a:ext>
              </a:extLst>
            </p:cNvPr>
            <p:cNvGrpSpPr>
              <a:grpSpLocks/>
            </p:cNvGrpSpPr>
            <p:nvPr userDrawn="1"/>
          </p:nvGrpSpPr>
          <p:grpSpPr bwMode="auto">
            <a:xfrm>
              <a:off x="251520" y="44624"/>
              <a:ext cx="8640960" cy="6711211"/>
              <a:chOff x="251520" y="44624"/>
              <a:chExt cx="8640960" cy="6711211"/>
            </a:xfrm>
          </p:grpSpPr>
          <p:pic>
            <p:nvPicPr>
              <p:cNvPr id="14" name="図 13" descr="電中研ロゴ色補正.png">
                <a:extLst>
                  <a:ext uri="{FF2B5EF4-FFF2-40B4-BE49-F238E27FC236}">
                    <a16:creationId xmlns:a16="http://schemas.microsoft.com/office/drawing/2014/main" id="{F4BD9CB8-2F56-43B8-B548-70C011E2CDB5}"/>
                  </a:ext>
                </a:extLst>
              </p:cNvPr>
              <p:cNvPicPr>
                <a:picLocks noChangeAspect="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7205807" y="44624"/>
                <a:ext cx="1686673"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図 14" descr="コピーライトグレー.png">
                <a:extLst>
                  <a:ext uri="{FF2B5EF4-FFF2-40B4-BE49-F238E27FC236}">
                    <a16:creationId xmlns:a16="http://schemas.microsoft.com/office/drawing/2014/main" id="{050A220C-4E3D-4151-8741-99D3ADFFF7CF}"/>
                  </a:ext>
                </a:extLst>
              </p:cNvPr>
              <p:cNvPicPr>
                <a:picLocks noChangeAspect="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251520" y="6597352"/>
                <a:ext cx="761937" cy="15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16" name="図 15" descr="タイプB中ページライン.png">
            <a:extLst>
              <a:ext uri="{FF2B5EF4-FFF2-40B4-BE49-F238E27FC236}">
                <a16:creationId xmlns:a16="http://schemas.microsoft.com/office/drawing/2014/main" id="{98530D01-5657-493B-B6A4-BF37406DBA79}"/>
              </a:ext>
            </a:extLst>
          </p:cNvPr>
          <p:cNvPicPr>
            <a:picLocks noChangeAspect="1"/>
          </p:cNvPicPr>
          <p:nvPr userDrawn="1"/>
        </p:nvPicPr>
        <p:blipFill>
          <a:blip r:embed="rId15" cstate="print">
            <a:extLst>
              <a:ext uri="{28A0092B-C50C-407E-A947-70E740481C1C}">
                <a14:useLocalDpi xmlns:a14="http://schemas.microsoft.com/office/drawing/2010/main"/>
              </a:ext>
            </a:extLst>
          </a:blip>
          <a:srcRect t="-275031" b="-275031"/>
          <a:stretch>
            <a:fillRect/>
          </a:stretch>
        </p:blipFill>
        <p:spPr bwMode="auto">
          <a:xfrm>
            <a:off x="250825" y="6489706"/>
            <a:ext cx="8656638" cy="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0355282"/>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58" r:id="rId3"/>
    <p:sldLayoutId id="2147483713" r:id="rId4"/>
    <p:sldLayoutId id="2147483671" r:id="rId5"/>
    <p:sldLayoutId id="2147483739" r:id="rId6"/>
  </p:sldLayoutIdLst>
  <p:hf hdr="0"/>
  <p:txStyles>
    <p:titleStyle>
      <a:lvl1pPr algn="ctr" rtl="0" eaLnBrk="1" fontAlgn="base" hangingPunct="1">
        <a:spcBef>
          <a:spcPct val="0"/>
        </a:spcBef>
        <a:spcAft>
          <a:spcPct val="0"/>
        </a:spcAft>
        <a:defRPr kumimoji="1" sz="2200" kern="1200">
          <a:solidFill>
            <a:schemeClr val="tx1"/>
          </a:solidFill>
          <a:latin typeface="+mj-lt"/>
          <a:ea typeface="+mj-ea"/>
          <a:cs typeface="+mj-cs"/>
        </a:defRPr>
      </a:lvl1pPr>
      <a:lvl2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2pPr>
      <a:lvl3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3pPr>
      <a:lvl4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4pPr>
      <a:lvl5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5pPr>
      <a:lvl6pPr marL="42202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6pPr>
      <a:lvl7pPr marL="84405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7pPr>
      <a:lvl8pPr marL="1266086"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8pPr>
      <a:lvl9pPr marL="1688112"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9pPr>
    </p:titleStyle>
    <p:bodyStyle>
      <a:lvl1pPr marL="265845" indent="-265845"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p:bodyStyle>
    <p:otherStyle>
      <a:defPPr>
        <a:defRPr lang="ja-JP"/>
      </a:defPPr>
      <a:lvl1pPr marL="0" algn="l" defTabSz="844058" rtl="0" eaLnBrk="1" latinLnBrk="0" hangingPunct="1">
        <a:defRPr kumimoji="1" sz="1661" kern="1200">
          <a:solidFill>
            <a:schemeClr val="tx1"/>
          </a:solidFill>
          <a:latin typeface="+mn-lt"/>
          <a:ea typeface="+mn-ea"/>
          <a:cs typeface="+mn-cs"/>
        </a:defRPr>
      </a:lvl1pPr>
      <a:lvl2pPr marL="422028" algn="l" defTabSz="844058" rtl="0" eaLnBrk="1" latinLnBrk="0" hangingPunct="1">
        <a:defRPr kumimoji="1" sz="1661" kern="1200">
          <a:solidFill>
            <a:schemeClr val="tx1"/>
          </a:solidFill>
          <a:latin typeface="+mn-lt"/>
          <a:ea typeface="+mn-ea"/>
          <a:cs typeface="+mn-cs"/>
        </a:defRPr>
      </a:lvl2pPr>
      <a:lvl3pPr marL="844058" algn="l" defTabSz="844058" rtl="0" eaLnBrk="1" latinLnBrk="0" hangingPunct="1">
        <a:defRPr kumimoji="1" sz="1661" kern="1200">
          <a:solidFill>
            <a:schemeClr val="tx1"/>
          </a:solidFill>
          <a:latin typeface="+mn-lt"/>
          <a:ea typeface="+mn-ea"/>
          <a:cs typeface="+mn-cs"/>
        </a:defRPr>
      </a:lvl3pPr>
      <a:lvl4pPr marL="1266086" algn="l" defTabSz="844058" rtl="0" eaLnBrk="1" latinLnBrk="0" hangingPunct="1">
        <a:defRPr kumimoji="1" sz="1661" kern="1200">
          <a:solidFill>
            <a:schemeClr val="tx1"/>
          </a:solidFill>
          <a:latin typeface="+mn-lt"/>
          <a:ea typeface="+mn-ea"/>
          <a:cs typeface="+mn-cs"/>
        </a:defRPr>
      </a:lvl4pPr>
      <a:lvl5pPr marL="1688112" algn="l" defTabSz="844058" rtl="0" eaLnBrk="1" latinLnBrk="0" hangingPunct="1">
        <a:defRPr kumimoji="1" sz="1661" kern="1200">
          <a:solidFill>
            <a:schemeClr val="tx1"/>
          </a:solidFill>
          <a:latin typeface="+mn-lt"/>
          <a:ea typeface="+mn-ea"/>
          <a:cs typeface="+mn-cs"/>
        </a:defRPr>
      </a:lvl5pPr>
      <a:lvl6pPr marL="2110142" algn="l" defTabSz="844058" rtl="0" eaLnBrk="1" latinLnBrk="0" hangingPunct="1">
        <a:defRPr kumimoji="1" sz="1661" kern="1200">
          <a:solidFill>
            <a:schemeClr val="tx1"/>
          </a:solidFill>
          <a:latin typeface="+mn-lt"/>
          <a:ea typeface="+mn-ea"/>
          <a:cs typeface="+mn-cs"/>
        </a:defRPr>
      </a:lvl6pPr>
      <a:lvl7pPr marL="2532170" algn="l" defTabSz="844058" rtl="0" eaLnBrk="1" latinLnBrk="0" hangingPunct="1">
        <a:defRPr kumimoji="1" sz="1661" kern="1200">
          <a:solidFill>
            <a:schemeClr val="tx1"/>
          </a:solidFill>
          <a:latin typeface="+mn-lt"/>
          <a:ea typeface="+mn-ea"/>
          <a:cs typeface="+mn-cs"/>
        </a:defRPr>
      </a:lvl7pPr>
      <a:lvl8pPr marL="2954199" algn="l" defTabSz="844058" rtl="0" eaLnBrk="1" latinLnBrk="0" hangingPunct="1">
        <a:defRPr kumimoji="1" sz="1661" kern="1200">
          <a:solidFill>
            <a:schemeClr val="tx1"/>
          </a:solidFill>
          <a:latin typeface="+mn-lt"/>
          <a:ea typeface="+mn-ea"/>
          <a:cs typeface="+mn-cs"/>
        </a:defRPr>
      </a:lvl8pPr>
      <a:lvl9pPr marL="3376226" algn="l" defTabSz="844058" rtl="0" eaLnBrk="1" latinLnBrk="0" hangingPunct="1">
        <a:defRPr kumimoji="1" sz="166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63CC2770-6CAA-4391-B269-187D7EF57FB3}"/>
              </a:ext>
            </a:extLst>
          </p:cNvPr>
          <p:cNvGraphicFramePr>
            <a:graphicFrameLocks noChangeAspect="1"/>
          </p:cNvGraphicFramePr>
          <p:nvPr userDrawn="1">
            <p:custDataLst>
              <p:tags r:id="rId7"/>
            </p:custDataLst>
            <p:extLst>
              <p:ext uri="{D42A27DB-BD31-4B8C-83A1-F6EECF244321}">
                <p14:modId xmlns:p14="http://schemas.microsoft.com/office/powerpoint/2010/main" val="603086525"/>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9" imgW="360" imgH="360" progId="TCLayout.ActiveDocument.1">
                  <p:embed/>
                </p:oleObj>
              </mc:Choice>
              <mc:Fallback>
                <p:oleObj name="think-cell スライド" r:id="rId9" imgW="360" imgH="360" progId="TCLayout.ActiveDocument.1">
                  <p:embed/>
                  <p:pic>
                    <p:nvPicPr>
                      <p:cNvPr id="7" name="オブジェクト 6" hidden="1">
                        <a:extLst>
                          <a:ext uri="{FF2B5EF4-FFF2-40B4-BE49-F238E27FC236}">
                            <a16:creationId xmlns:a16="http://schemas.microsoft.com/office/drawing/2014/main" id="{63CC2770-6CAA-4391-B269-187D7EF57FB3}"/>
                          </a:ext>
                        </a:extLst>
                      </p:cNvPr>
                      <p:cNvPicPr/>
                      <p:nvPr/>
                    </p:nvPicPr>
                    <p:blipFill>
                      <a:blip r:embed="rId10"/>
                      <a:stretch>
                        <a:fillRect/>
                      </a:stretch>
                    </p:blipFill>
                    <p:spPr>
                      <a:xfrm>
                        <a:off x="1590" y="1589"/>
                        <a:ext cx="1588" cy="1588"/>
                      </a:xfrm>
                      <a:prstGeom prst="rect">
                        <a:avLst/>
                      </a:prstGeom>
                    </p:spPr>
                  </p:pic>
                </p:oleObj>
              </mc:Fallback>
            </mc:AlternateContent>
          </a:graphicData>
        </a:graphic>
      </p:graphicFrame>
      <p:sp>
        <p:nvSpPr>
          <p:cNvPr id="6" name="正方形/長方形 5" hidden="1">
            <a:extLst>
              <a:ext uri="{FF2B5EF4-FFF2-40B4-BE49-F238E27FC236}">
                <a16:creationId xmlns:a16="http://schemas.microsoft.com/office/drawing/2014/main" id="{3440F440-ADE6-41E3-A456-AF062FB7F88D}"/>
              </a:ext>
            </a:extLst>
          </p:cNvPr>
          <p:cNvSpPr/>
          <p:nvPr userDrawn="1">
            <p:custDataLst>
              <p:tags r:id="rId8"/>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200" b="0"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sp>
        <p:nvSpPr>
          <p:cNvPr id="1026" name="タイトル プレースホルダ 1"/>
          <p:cNvSpPr>
            <a:spLocks noGrp="1"/>
          </p:cNvSpPr>
          <p:nvPr>
            <p:ph type="title"/>
          </p:nvPr>
        </p:nvSpPr>
        <p:spPr bwMode="auto">
          <a:xfrm>
            <a:off x="457200" y="404664"/>
            <a:ext cx="8229600" cy="72008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dirty="0"/>
              <a:t>マスター タイトルの書式設定</a:t>
            </a:r>
          </a:p>
        </p:txBody>
      </p:sp>
      <p:sp>
        <p:nvSpPr>
          <p:cNvPr id="1027" name="テキスト プレースホルダ 2"/>
          <p:cNvSpPr>
            <a:spLocks noGrp="1"/>
          </p:cNvSpPr>
          <p:nvPr>
            <p:ph type="body" idx="1"/>
          </p:nvPr>
        </p:nvSpPr>
        <p:spPr bwMode="auto">
          <a:xfrm>
            <a:off x="457200" y="1268761"/>
            <a:ext cx="8229600" cy="50405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23" name="フッター プレースホルダ 4">
            <a:extLst>
              <a:ext uri="{FF2B5EF4-FFF2-40B4-BE49-F238E27FC236}">
                <a16:creationId xmlns:a16="http://schemas.microsoft.com/office/drawing/2014/main" id="{B645968D-841B-4C74-BB23-AF28AEC95143}"/>
              </a:ext>
            </a:extLst>
          </p:cNvPr>
          <p:cNvSpPr txBox="1">
            <a:spLocks/>
          </p:cNvSpPr>
          <p:nvPr userDrawn="1"/>
        </p:nvSpPr>
        <p:spPr>
          <a:xfrm>
            <a:off x="959503" y="6560253"/>
            <a:ext cx="588167" cy="209162"/>
          </a:xfrm>
          <a:prstGeom prst="rect">
            <a:avLst/>
          </a:prstGeom>
        </p:spPr>
        <p:txBody>
          <a:bodyPr vert="horz" lIns="112543" tIns="56271" rIns="112543" bIns="56271" rtlCol="0" anchor="ctr"/>
          <a:lstStyle>
            <a:defPPr>
              <a:defRPr lang="ja-JP"/>
            </a:defPPr>
            <a:lvl1pPr algn="l" rtl="0" fontAlgn="auto">
              <a:spcBef>
                <a:spcPts val="0"/>
              </a:spcBef>
              <a:spcAft>
                <a:spcPts val="0"/>
              </a:spcAft>
              <a:defRPr kumimoji="1" sz="1100" b="1" kern="1200">
                <a:solidFill>
                  <a:schemeClr val="bg1"/>
                </a:solidFill>
                <a:latin typeface="+mn-lt"/>
                <a:ea typeface="+mn-ea"/>
                <a:cs typeface="Arial" pitchFamily="34" charset="0"/>
              </a:defRPr>
            </a:lvl1pPr>
            <a:lvl2pPr marL="342900" algn="l" rtl="0" fontAlgn="base">
              <a:spcBef>
                <a:spcPct val="0"/>
              </a:spcBef>
              <a:spcAft>
                <a:spcPct val="0"/>
              </a:spcAft>
              <a:defRPr kumimoji="1" kern="1200">
                <a:solidFill>
                  <a:schemeClr val="tx1"/>
                </a:solidFill>
                <a:latin typeface="Arial" charset="0"/>
                <a:ea typeface="ＭＳ Ｐゴシック" charset="-128"/>
                <a:cs typeface="+mn-cs"/>
              </a:defRPr>
            </a:lvl2pPr>
            <a:lvl3pPr marL="685800" algn="l" rtl="0" fontAlgn="base">
              <a:spcBef>
                <a:spcPct val="0"/>
              </a:spcBef>
              <a:spcAft>
                <a:spcPct val="0"/>
              </a:spcAft>
              <a:defRPr kumimoji="1" kern="1200">
                <a:solidFill>
                  <a:schemeClr val="tx1"/>
                </a:solidFill>
                <a:latin typeface="Arial" charset="0"/>
                <a:ea typeface="ＭＳ Ｐゴシック" charset="-128"/>
                <a:cs typeface="+mn-cs"/>
              </a:defRPr>
            </a:lvl3pPr>
            <a:lvl4pPr marL="1028700" algn="l" rtl="0" fontAlgn="base">
              <a:spcBef>
                <a:spcPct val="0"/>
              </a:spcBef>
              <a:spcAft>
                <a:spcPct val="0"/>
              </a:spcAft>
              <a:defRPr kumimoji="1" kern="1200">
                <a:solidFill>
                  <a:schemeClr val="tx1"/>
                </a:solidFill>
                <a:latin typeface="Arial" charset="0"/>
                <a:ea typeface="ＭＳ Ｐゴシック" charset="-128"/>
                <a:cs typeface="+mn-cs"/>
              </a:defRPr>
            </a:lvl4pPr>
            <a:lvl5pPr marL="1371600" algn="l" rtl="0" fontAlgn="base">
              <a:spcBef>
                <a:spcPct val="0"/>
              </a:spcBef>
              <a:spcAft>
                <a:spcPct val="0"/>
              </a:spcAft>
              <a:defRPr kumimoji="1" kern="1200">
                <a:solidFill>
                  <a:schemeClr val="tx1"/>
                </a:solidFill>
                <a:latin typeface="Arial" charset="0"/>
                <a:ea typeface="ＭＳ Ｐゴシック" charset="-128"/>
                <a:cs typeface="+mn-cs"/>
              </a:defRPr>
            </a:lvl5pPr>
            <a:lvl6pPr marL="1714500" algn="l" defTabSz="685800" rtl="0" eaLnBrk="1" latinLnBrk="0" hangingPunct="1">
              <a:defRPr kumimoji="1" kern="1200">
                <a:solidFill>
                  <a:schemeClr val="tx1"/>
                </a:solidFill>
                <a:latin typeface="Arial" charset="0"/>
                <a:ea typeface="ＭＳ Ｐゴシック" charset="-128"/>
                <a:cs typeface="+mn-cs"/>
              </a:defRPr>
            </a:lvl6pPr>
            <a:lvl7pPr marL="2057400" algn="l" defTabSz="685800" rtl="0" eaLnBrk="1" latinLnBrk="0" hangingPunct="1">
              <a:defRPr kumimoji="1" kern="1200">
                <a:solidFill>
                  <a:schemeClr val="tx1"/>
                </a:solidFill>
                <a:latin typeface="Arial" charset="0"/>
                <a:ea typeface="ＭＳ Ｐゴシック" charset="-128"/>
                <a:cs typeface="+mn-cs"/>
              </a:defRPr>
            </a:lvl7pPr>
            <a:lvl8pPr marL="2400300" algn="l" defTabSz="685800" rtl="0" eaLnBrk="1" latinLnBrk="0" hangingPunct="1">
              <a:defRPr kumimoji="1" kern="1200">
                <a:solidFill>
                  <a:schemeClr val="tx1"/>
                </a:solidFill>
                <a:latin typeface="Arial" charset="0"/>
                <a:ea typeface="ＭＳ Ｐゴシック" charset="-128"/>
                <a:cs typeface="+mn-cs"/>
              </a:defRPr>
            </a:lvl8pPr>
            <a:lvl9pPr marL="2743200" algn="l" defTabSz="685800" rtl="0" eaLnBrk="1" latinLnBrk="0" hangingPunct="1">
              <a:defRPr kumimoji="1" kern="1200">
                <a:solidFill>
                  <a:schemeClr val="tx1"/>
                </a:solidFill>
                <a:latin typeface="Arial" charset="0"/>
                <a:ea typeface="ＭＳ Ｐゴシック" charset="-128"/>
                <a:cs typeface="+mn-cs"/>
              </a:defRPr>
            </a:lvl9pPr>
          </a:lstStyle>
          <a:p>
            <a:pPr>
              <a:defRPr/>
            </a:pPr>
            <a:r>
              <a:rPr lang="en-US" altLang="ja-JP" sz="1353" dirty="0"/>
              <a:t>2020</a:t>
            </a:r>
            <a:endParaRPr lang="ja-JP" altLang="en-US" sz="1353" dirty="0"/>
          </a:p>
        </p:txBody>
      </p:sp>
      <p:grpSp>
        <p:nvGrpSpPr>
          <p:cNvPr id="11" name="グループ化 22">
            <a:extLst>
              <a:ext uri="{FF2B5EF4-FFF2-40B4-BE49-F238E27FC236}">
                <a16:creationId xmlns:a16="http://schemas.microsoft.com/office/drawing/2014/main" id="{12FB05A7-1E07-45A8-B695-F5410490AECB}"/>
              </a:ext>
            </a:extLst>
          </p:cNvPr>
          <p:cNvGrpSpPr>
            <a:grpSpLocks/>
          </p:cNvGrpSpPr>
          <p:nvPr userDrawn="1"/>
        </p:nvGrpSpPr>
        <p:grpSpPr bwMode="auto">
          <a:xfrm>
            <a:off x="250828" y="39688"/>
            <a:ext cx="7633543" cy="6716712"/>
            <a:chOff x="251520" y="39248"/>
            <a:chExt cx="7632316" cy="6716587"/>
          </a:xfrm>
        </p:grpSpPr>
        <p:pic>
          <p:nvPicPr>
            <p:cNvPr id="12" name="図 21" descr="4_3B_bar.gif">
              <a:extLst>
                <a:ext uri="{FF2B5EF4-FFF2-40B4-BE49-F238E27FC236}">
                  <a16:creationId xmlns:a16="http://schemas.microsoft.com/office/drawing/2014/main" id="{DF17E390-7EE6-44D7-B48D-142174ABC5D4}"/>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251520" y="39248"/>
              <a:ext cx="7632316"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図 14" descr="コピーライトグレー.png">
              <a:extLst>
                <a:ext uri="{FF2B5EF4-FFF2-40B4-BE49-F238E27FC236}">
                  <a16:creationId xmlns:a16="http://schemas.microsoft.com/office/drawing/2014/main" id="{050A220C-4E3D-4151-8741-99D3ADFFF7CF}"/>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251520" y="6597352"/>
              <a:ext cx="761937" cy="15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図 15" descr="タイプB中ページライン.png">
            <a:extLst>
              <a:ext uri="{FF2B5EF4-FFF2-40B4-BE49-F238E27FC236}">
                <a16:creationId xmlns:a16="http://schemas.microsoft.com/office/drawing/2014/main" id="{98530D01-5657-493B-B6A4-BF37406DBA79}"/>
              </a:ext>
            </a:extLst>
          </p:cNvPr>
          <p:cNvPicPr>
            <a:picLocks noChangeAspect="1"/>
          </p:cNvPicPr>
          <p:nvPr userDrawn="1"/>
        </p:nvPicPr>
        <p:blipFill>
          <a:blip r:embed="rId13" cstate="print">
            <a:extLst>
              <a:ext uri="{28A0092B-C50C-407E-A947-70E740481C1C}">
                <a14:useLocalDpi xmlns:a14="http://schemas.microsoft.com/office/drawing/2010/main"/>
              </a:ext>
            </a:extLst>
          </a:blip>
          <a:srcRect t="-275031" b="-275031"/>
          <a:stretch>
            <a:fillRect/>
          </a:stretch>
        </p:blipFill>
        <p:spPr bwMode="auto">
          <a:xfrm>
            <a:off x="250825" y="6489706"/>
            <a:ext cx="8656638" cy="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図 17">
            <a:extLst>
              <a:ext uri="{FF2B5EF4-FFF2-40B4-BE49-F238E27FC236}">
                <a16:creationId xmlns:a16="http://schemas.microsoft.com/office/drawing/2014/main" id="{8BC8C964-3896-4FB4-A551-CDF99E8BD483}"/>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018918" y="44624"/>
            <a:ext cx="874800" cy="251472"/>
          </a:xfrm>
          <a:prstGeom prst="rect">
            <a:avLst/>
          </a:prstGeom>
        </p:spPr>
      </p:pic>
    </p:spTree>
    <p:extLst>
      <p:ext uri="{BB962C8B-B14F-4D97-AF65-F5344CB8AC3E}">
        <p14:creationId xmlns:p14="http://schemas.microsoft.com/office/powerpoint/2010/main" val="1045984656"/>
      </p:ext>
    </p:extLst>
  </p:cSld>
  <p:clrMap bg1="lt1" tx1="dk1" bg2="lt2" tx2="dk2" accent1="accent1" accent2="accent2" accent3="accent3" accent4="accent4" accent5="accent5" accent6="accent6" hlink="hlink" folHlink="folHlink"/>
  <p:sldLayoutIdLst>
    <p:sldLayoutId id="2147483716" r:id="rId1"/>
    <p:sldLayoutId id="2147483720" r:id="rId2"/>
    <p:sldLayoutId id="2147483717" r:id="rId3"/>
    <p:sldLayoutId id="2147483719" r:id="rId4"/>
    <p:sldLayoutId id="2147483722" r:id="rId5"/>
  </p:sldLayoutIdLst>
  <p:hf hdr="0"/>
  <p:txStyles>
    <p:titleStyle>
      <a:lvl1pPr algn="ctr" rtl="0" eaLnBrk="1" fontAlgn="base" hangingPunct="1">
        <a:spcBef>
          <a:spcPct val="0"/>
        </a:spcBef>
        <a:spcAft>
          <a:spcPct val="0"/>
        </a:spcAft>
        <a:defRPr kumimoji="1" sz="2200" kern="1200">
          <a:solidFill>
            <a:schemeClr val="tx1"/>
          </a:solidFill>
          <a:latin typeface="+mj-lt"/>
          <a:ea typeface="+mj-ea"/>
          <a:cs typeface="+mj-cs"/>
        </a:defRPr>
      </a:lvl1pPr>
      <a:lvl2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2pPr>
      <a:lvl3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3pPr>
      <a:lvl4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4pPr>
      <a:lvl5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5pPr>
      <a:lvl6pPr marL="42202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6pPr>
      <a:lvl7pPr marL="84405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7pPr>
      <a:lvl8pPr marL="1266086"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8pPr>
      <a:lvl9pPr marL="1688112"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9pPr>
    </p:titleStyle>
    <p:bodyStyle>
      <a:lvl1pPr marL="265845" indent="-265845"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p:bodyStyle>
    <p:otherStyle>
      <a:defPPr>
        <a:defRPr lang="ja-JP"/>
      </a:defPPr>
      <a:lvl1pPr marL="0" algn="l" defTabSz="844058" rtl="0" eaLnBrk="1" latinLnBrk="0" hangingPunct="1">
        <a:defRPr kumimoji="1" sz="1661" kern="1200">
          <a:solidFill>
            <a:schemeClr val="tx1"/>
          </a:solidFill>
          <a:latin typeface="+mn-lt"/>
          <a:ea typeface="+mn-ea"/>
          <a:cs typeface="+mn-cs"/>
        </a:defRPr>
      </a:lvl1pPr>
      <a:lvl2pPr marL="422028" algn="l" defTabSz="844058" rtl="0" eaLnBrk="1" latinLnBrk="0" hangingPunct="1">
        <a:defRPr kumimoji="1" sz="1661" kern="1200">
          <a:solidFill>
            <a:schemeClr val="tx1"/>
          </a:solidFill>
          <a:latin typeface="+mn-lt"/>
          <a:ea typeface="+mn-ea"/>
          <a:cs typeface="+mn-cs"/>
        </a:defRPr>
      </a:lvl2pPr>
      <a:lvl3pPr marL="844058" algn="l" defTabSz="844058" rtl="0" eaLnBrk="1" latinLnBrk="0" hangingPunct="1">
        <a:defRPr kumimoji="1" sz="1661" kern="1200">
          <a:solidFill>
            <a:schemeClr val="tx1"/>
          </a:solidFill>
          <a:latin typeface="+mn-lt"/>
          <a:ea typeface="+mn-ea"/>
          <a:cs typeface="+mn-cs"/>
        </a:defRPr>
      </a:lvl3pPr>
      <a:lvl4pPr marL="1266086" algn="l" defTabSz="844058" rtl="0" eaLnBrk="1" latinLnBrk="0" hangingPunct="1">
        <a:defRPr kumimoji="1" sz="1661" kern="1200">
          <a:solidFill>
            <a:schemeClr val="tx1"/>
          </a:solidFill>
          <a:latin typeface="+mn-lt"/>
          <a:ea typeface="+mn-ea"/>
          <a:cs typeface="+mn-cs"/>
        </a:defRPr>
      </a:lvl4pPr>
      <a:lvl5pPr marL="1688112" algn="l" defTabSz="844058" rtl="0" eaLnBrk="1" latinLnBrk="0" hangingPunct="1">
        <a:defRPr kumimoji="1" sz="1661" kern="1200">
          <a:solidFill>
            <a:schemeClr val="tx1"/>
          </a:solidFill>
          <a:latin typeface="+mn-lt"/>
          <a:ea typeface="+mn-ea"/>
          <a:cs typeface="+mn-cs"/>
        </a:defRPr>
      </a:lvl5pPr>
      <a:lvl6pPr marL="2110142" algn="l" defTabSz="844058" rtl="0" eaLnBrk="1" latinLnBrk="0" hangingPunct="1">
        <a:defRPr kumimoji="1" sz="1661" kern="1200">
          <a:solidFill>
            <a:schemeClr val="tx1"/>
          </a:solidFill>
          <a:latin typeface="+mn-lt"/>
          <a:ea typeface="+mn-ea"/>
          <a:cs typeface="+mn-cs"/>
        </a:defRPr>
      </a:lvl6pPr>
      <a:lvl7pPr marL="2532170" algn="l" defTabSz="844058" rtl="0" eaLnBrk="1" latinLnBrk="0" hangingPunct="1">
        <a:defRPr kumimoji="1" sz="1661" kern="1200">
          <a:solidFill>
            <a:schemeClr val="tx1"/>
          </a:solidFill>
          <a:latin typeface="+mn-lt"/>
          <a:ea typeface="+mn-ea"/>
          <a:cs typeface="+mn-cs"/>
        </a:defRPr>
      </a:lvl7pPr>
      <a:lvl8pPr marL="2954199" algn="l" defTabSz="844058" rtl="0" eaLnBrk="1" latinLnBrk="0" hangingPunct="1">
        <a:defRPr kumimoji="1" sz="1661" kern="1200">
          <a:solidFill>
            <a:schemeClr val="tx1"/>
          </a:solidFill>
          <a:latin typeface="+mn-lt"/>
          <a:ea typeface="+mn-ea"/>
          <a:cs typeface="+mn-cs"/>
        </a:defRPr>
      </a:lvl8pPr>
      <a:lvl9pPr marL="3376226" algn="l" defTabSz="844058" rtl="0" eaLnBrk="1" latinLnBrk="0" hangingPunct="1">
        <a:defRPr kumimoji="1" sz="166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63CC2770-6CAA-4391-B269-187D7EF57FB3}"/>
              </a:ext>
            </a:extLst>
          </p:cNvPr>
          <p:cNvGraphicFramePr>
            <a:graphicFrameLocks noChangeAspect="1"/>
          </p:cNvGraphicFramePr>
          <p:nvPr userDrawn="1">
            <p:custDataLst>
              <p:tags r:id="rId7"/>
            </p:custDataLst>
            <p:extLst>
              <p:ext uri="{D42A27DB-BD31-4B8C-83A1-F6EECF244321}">
                <p14:modId xmlns:p14="http://schemas.microsoft.com/office/powerpoint/2010/main" val="101622713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9" imgW="360" imgH="360" progId="TCLayout.ActiveDocument.1">
                  <p:embed/>
                </p:oleObj>
              </mc:Choice>
              <mc:Fallback>
                <p:oleObj name="think-cell スライド" r:id="rId9" imgW="360" imgH="360" progId="TCLayout.ActiveDocument.1">
                  <p:embed/>
                  <p:pic>
                    <p:nvPicPr>
                      <p:cNvPr id="7" name="オブジェクト 6" hidden="1">
                        <a:extLst>
                          <a:ext uri="{FF2B5EF4-FFF2-40B4-BE49-F238E27FC236}">
                            <a16:creationId xmlns:a16="http://schemas.microsoft.com/office/drawing/2014/main" id="{63CC2770-6CAA-4391-B269-187D7EF57FB3}"/>
                          </a:ext>
                        </a:extLst>
                      </p:cNvPr>
                      <p:cNvPicPr/>
                      <p:nvPr/>
                    </p:nvPicPr>
                    <p:blipFill>
                      <a:blip r:embed="rId10"/>
                      <a:stretch>
                        <a:fillRect/>
                      </a:stretch>
                    </p:blipFill>
                    <p:spPr>
                      <a:xfrm>
                        <a:off x="1590" y="1589"/>
                        <a:ext cx="1588" cy="1588"/>
                      </a:xfrm>
                      <a:prstGeom prst="rect">
                        <a:avLst/>
                      </a:prstGeom>
                    </p:spPr>
                  </p:pic>
                </p:oleObj>
              </mc:Fallback>
            </mc:AlternateContent>
          </a:graphicData>
        </a:graphic>
      </p:graphicFrame>
      <p:sp>
        <p:nvSpPr>
          <p:cNvPr id="6" name="正方形/長方形 5" hidden="1">
            <a:extLst>
              <a:ext uri="{FF2B5EF4-FFF2-40B4-BE49-F238E27FC236}">
                <a16:creationId xmlns:a16="http://schemas.microsoft.com/office/drawing/2014/main" id="{3440F440-ADE6-41E3-A456-AF062FB7F88D}"/>
              </a:ext>
            </a:extLst>
          </p:cNvPr>
          <p:cNvSpPr/>
          <p:nvPr userDrawn="1">
            <p:custDataLst>
              <p:tags r:id="rId8"/>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200" b="0"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grpSp>
        <p:nvGrpSpPr>
          <p:cNvPr id="13" name="グループ化 12">
            <a:extLst>
              <a:ext uri="{FF2B5EF4-FFF2-40B4-BE49-F238E27FC236}">
                <a16:creationId xmlns:a16="http://schemas.microsoft.com/office/drawing/2014/main" id="{9B2D963D-EB01-48FD-8F35-B097DE699A3F}"/>
              </a:ext>
            </a:extLst>
          </p:cNvPr>
          <p:cNvGrpSpPr/>
          <p:nvPr userDrawn="1"/>
        </p:nvGrpSpPr>
        <p:grpSpPr>
          <a:xfrm>
            <a:off x="95250" y="6508576"/>
            <a:ext cx="8953500" cy="304800"/>
            <a:chOff x="95250" y="6508576"/>
            <a:chExt cx="8953500" cy="304800"/>
          </a:xfrm>
        </p:grpSpPr>
        <p:pic>
          <p:nvPicPr>
            <p:cNvPr id="14" name="図 13" descr="4_3A_bar.gif">
              <a:extLst>
                <a:ext uri="{FF2B5EF4-FFF2-40B4-BE49-F238E27FC236}">
                  <a16:creationId xmlns:a16="http://schemas.microsoft.com/office/drawing/2014/main" id="{E6B5FA4F-285E-4F6A-B16A-458D2DF4D308}"/>
                </a:ext>
              </a:extLst>
            </p:cNvPr>
            <p:cNvPicPr>
              <a:picLocks noChangeAspect="1"/>
            </p:cNvPicPr>
            <p:nvPr userDrawn="1"/>
          </p:nvPicPr>
          <p:blipFill>
            <a:blip r:embed="rId11" cstate="print"/>
            <a:stretch>
              <a:fillRect/>
            </a:stretch>
          </p:blipFill>
          <p:spPr>
            <a:xfrm>
              <a:off x="95250" y="6508576"/>
              <a:ext cx="8953500" cy="304800"/>
            </a:xfrm>
            <a:prstGeom prst="rect">
              <a:avLst/>
            </a:prstGeom>
          </p:spPr>
        </p:pic>
        <p:pic>
          <p:nvPicPr>
            <p:cNvPr id="15" name="図 14">
              <a:extLst>
                <a:ext uri="{FF2B5EF4-FFF2-40B4-BE49-F238E27FC236}">
                  <a16:creationId xmlns:a16="http://schemas.microsoft.com/office/drawing/2014/main" id="{9205E04B-E85A-4424-B42E-0B7D0AE17B1C}"/>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251520" y="6580861"/>
              <a:ext cx="763200" cy="160507"/>
            </a:xfrm>
            <a:prstGeom prst="rect">
              <a:avLst/>
            </a:prstGeom>
          </p:spPr>
        </p:pic>
        <p:pic>
          <p:nvPicPr>
            <p:cNvPr id="16" name="図 15">
              <a:extLst>
                <a:ext uri="{FF2B5EF4-FFF2-40B4-BE49-F238E27FC236}">
                  <a16:creationId xmlns:a16="http://schemas.microsoft.com/office/drawing/2014/main" id="{151B4F83-312F-42BB-BD6D-57FFFCA80812}"/>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7308304" y="6524960"/>
              <a:ext cx="1688592" cy="216408"/>
            </a:xfrm>
            <a:prstGeom prst="rect">
              <a:avLst/>
            </a:prstGeom>
          </p:spPr>
        </p:pic>
      </p:grpSp>
      <p:sp>
        <p:nvSpPr>
          <p:cNvPr id="1026" name="タイトル プレースホルダ 1"/>
          <p:cNvSpPr>
            <a:spLocks noGrp="1"/>
          </p:cNvSpPr>
          <p:nvPr>
            <p:ph type="title"/>
          </p:nvPr>
        </p:nvSpPr>
        <p:spPr bwMode="auto">
          <a:xfrm>
            <a:off x="457200" y="188647"/>
            <a:ext cx="8229600" cy="936105"/>
          </a:xfrm>
          <a:prstGeom prst="rect">
            <a:avLst/>
          </a:prstGeom>
          <a:solidFill>
            <a:srgbClr val="E6F1FE"/>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dirty="0"/>
              <a:t>マスター タイトルの書式設定</a:t>
            </a:r>
          </a:p>
        </p:txBody>
      </p:sp>
      <p:sp>
        <p:nvSpPr>
          <p:cNvPr id="1027" name="テキスト プレースホルダ 2"/>
          <p:cNvSpPr>
            <a:spLocks noGrp="1"/>
          </p:cNvSpPr>
          <p:nvPr>
            <p:ph type="body" idx="1"/>
          </p:nvPr>
        </p:nvSpPr>
        <p:spPr bwMode="auto">
          <a:xfrm>
            <a:off x="457200" y="1268761"/>
            <a:ext cx="8229600" cy="50405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22" name="スライド番号プレースホルダ 13">
            <a:extLst>
              <a:ext uri="{FF2B5EF4-FFF2-40B4-BE49-F238E27FC236}">
                <a16:creationId xmlns:a16="http://schemas.microsoft.com/office/drawing/2014/main" id="{03A88E47-B49E-454B-AE75-E702952DF938}"/>
              </a:ext>
            </a:extLst>
          </p:cNvPr>
          <p:cNvSpPr>
            <a:spLocks noGrp="1"/>
          </p:cNvSpPr>
          <p:nvPr>
            <p:ph type="sldNum" sz="quarter" idx="4"/>
          </p:nvPr>
        </p:nvSpPr>
        <p:spPr>
          <a:xfrm>
            <a:off x="4249788" y="6460802"/>
            <a:ext cx="618028" cy="366182"/>
          </a:xfrm>
          <a:prstGeom prst="rect">
            <a:avLst/>
          </a:prstGeom>
        </p:spPr>
        <p:txBody>
          <a:bodyPr vert="horz" lIns="91440" tIns="45720" rIns="91440" bIns="45720" rtlCol="0" anchor="ctr"/>
          <a:lstStyle>
            <a:lvl1pPr algn="ctr">
              <a:defRPr sz="1416" b="1">
                <a:solidFill>
                  <a:srgbClr val="FFFFFF"/>
                </a:solidFill>
                <a:latin typeface="Century Gothic" pitchFamily="34" charset="0"/>
              </a:defRPr>
            </a:lvl1pPr>
          </a:lstStyle>
          <a:p>
            <a:fld id="{BEE7E999-D39D-4DC4-8260-5547312FA60C}" type="slidenum">
              <a:rPr lang="ja-JP" altLang="en-US" smtClean="0"/>
              <a:pPr/>
              <a:t>‹#›</a:t>
            </a:fld>
            <a:endParaRPr lang="ja-JP" altLang="en-US" dirty="0"/>
          </a:p>
        </p:txBody>
      </p:sp>
    </p:spTree>
    <p:extLst>
      <p:ext uri="{BB962C8B-B14F-4D97-AF65-F5344CB8AC3E}">
        <p14:creationId xmlns:p14="http://schemas.microsoft.com/office/powerpoint/2010/main" val="2369414416"/>
      </p:ext>
    </p:extLst>
  </p:cSld>
  <p:clrMap bg1="lt1" tx1="dk1" bg2="lt2" tx2="dk2" accent1="accent1" accent2="accent2" accent3="accent3" accent4="accent4" accent5="accent5" accent6="accent6" hlink="hlink" folHlink="folHlink"/>
  <p:sldLayoutIdLst>
    <p:sldLayoutId id="2147483702" r:id="rId1"/>
    <p:sldLayoutId id="2147483691" r:id="rId2"/>
    <p:sldLayoutId id="2147483689" r:id="rId3"/>
    <p:sldLayoutId id="2147483714" r:id="rId4"/>
    <p:sldLayoutId id="2147483693" r:id="rId5"/>
  </p:sldLayoutIdLst>
  <p:hf hdr="0"/>
  <p:txStyles>
    <p:titleStyle>
      <a:lvl1pPr algn="ctr" rtl="0" eaLnBrk="1" fontAlgn="base" hangingPunct="1">
        <a:spcBef>
          <a:spcPct val="0"/>
        </a:spcBef>
        <a:spcAft>
          <a:spcPct val="0"/>
        </a:spcAft>
        <a:defRPr kumimoji="1" sz="2200" kern="1200">
          <a:solidFill>
            <a:schemeClr val="tx1"/>
          </a:solidFill>
          <a:latin typeface="+mj-lt"/>
          <a:ea typeface="+mj-ea"/>
          <a:cs typeface="+mj-cs"/>
        </a:defRPr>
      </a:lvl1pPr>
      <a:lvl2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2pPr>
      <a:lvl3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3pPr>
      <a:lvl4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4pPr>
      <a:lvl5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5pPr>
      <a:lvl6pPr marL="42202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6pPr>
      <a:lvl7pPr marL="84405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7pPr>
      <a:lvl8pPr marL="1266086"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8pPr>
      <a:lvl9pPr marL="1688112"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9pPr>
    </p:titleStyle>
    <p:bodyStyle>
      <a:lvl1pPr marL="265845" indent="-265845"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p:bodyStyle>
    <p:otherStyle>
      <a:defPPr>
        <a:defRPr lang="ja-JP"/>
      </a:defPPr>
      <a:lvl1pPr marL="0" algn="l" defTabSz="844058" rtl="0" eaLnBrk="1" latinLnBrk="0" hangingPunct="1">
        <a:defRPr kumimoji="1" sz="1661" kern="1200">
          <a:solidFill>
            <a:schemeClr val="tx1"/>
          </a:solidFill>
          <a:latin typeface="+mn-lt"/>
          <a:ea typeface="+mn-ea"/>
          <a:cs typeface="+mn-cs"/>
        </a:defRPr>
      </a:lvl1pPr>
      <a:lvl2pPr marL="422028" algn="l" defTabSz="844058" rtl="0" eaLnBrk="1" latinLnBrk="0" hangingPunct="1">
        <a:defRPr kumimoji="1" sz="1661" kern="1200">
          <a:solidFill>
            <a:schemeClr val="tx1"/>
          </a:solidFill>
          <a:latin typeface="+mn-lt"/>
          <a:ea typeface="+mn-ea"/>
          <a:cs typeface="+mn-cs"/>
        </a:defRPr>
      </a:lvl2pPr>
      <a:lvl3pPr marL="844058" algn="l" defTabSz="844058" rtl="0" eaLnBrk="1" latinLnBrk="0" hangingPunct="1">
        <a:defRPr kumimoji="1" sz="1661" kern="1200">
          <a:solidFill>
            <a:schemeClr val="tx1"/>
          </a:solidFill>
          <a:latin typeface="+mn-lt"/>
          <a:ea typeface="+mn-ea"/>
          <a:cs typeface="+mn-cs"/>
        </a:defRPr>
      </a:lvl3pPr>
      <a:lvl4pPr marL="1266086" algn="l" defTabSz="844058" rtl="0" eaLnBrk="1" latinLnBrk="0" hangingPunct="1">
        <a:defRPr kumimoji="1" sz="1661" kern="1200">
          <a:solidFill>
            <a:schemeClr val="tx1"/>
          </a:solidFill>
          <a:latin typeface="+mn-lt"/>
          <a:ea typeface="+mn-ea"/>
          <a:cs typeface="+mn-cs"/>
        </a:defRPr>
      </a:lvl4pPr>
      <a:lvl5pPr marL="1688112" algn="l" defTabSz="844058" rtl="0" eaLnBrk="1" latinLnBrk="0" hangingPunct="1">
        <a:defRPr kumimoji="1" sz="1661" kern="1200">
          <a:solidFill>
            <a:schemeClr val="tx1"/>
          </a:solidFill>
          <a:latin typeface="+mn-lt"/>
          <a:ea typeface="+mn-ea"/>
          <a:cs typeface="+mn-cs"/>
        </a:defRPr>
      </a:lvl5pPr>
      <a:lvl6pPr marL="2110142" algn="l" defTabSz="844058" rtl="0" eaLnBrk="1" latinLnBrk="0" hangingPunct="1">
        <a:defRPr kumimoji="1" sz="1661" kern="1200">
          <a:solidFill>
            <a:schemeClr val="tx1"/>
          </a:solidFill>
          <a:latin typeface="+mn-lt"/>
          <a:ea typeface="+mn-ea"/>
          <a:cs typeface="+mn-cs"/>
        </a:defRPr>
      </a:lvl6pPr>
      <a:lvl7pPr marL="2532170" algn="l" defTabSz="844058" rtl="0" eaLnBrk="1" latinLnBrk="0" hangingPunct="1">
        <a:defRPr kumimoji="1" sz="1661" kern="1200">
          <a:solidFill>
            <a:schemeClr val="tx1"/>
          </a:solidFill>
          <a:latin typeface="+mn-lt"/>
          <a:ea typeface="+mn-ea"/>
          <a:cs typeface="+mn-cs"/>
        </a:defRPr>
      </a:lvl7pPr>
      <a:lvl8pPr marL="2954199" algn="l" defTabSz="844058" rtl="0" eaLnBrk="1" latinLnBrk="0" hangingPunct="1">
        <a:defRPr kumimoji="1" sz="1661" kern="1200">
          <a:solidFill>
            <a:schemeClr val="tx1"/>
          </a:solidFill>
          <a:latin typeface="+mn-lt"/>
          <a:ea typeface="+mn-ea"/>
          <a:cs typeface="+mn-cs"/>
        </a:defRPr>
      </a:lvl8pPr>
      <a:lvl9pPr marL="3376226" algn="l" defTabSz="844058" rtl="0" eaLnBrk="1" latinLnBrk="0" hangingPunct="1">
        <a:defRPr kumimoji="1" sz="166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63CC2770-6CAA-4391-B269-187D7EF57FB3}"/>
              </a:ext>
            </a:extLst>
          </p:cNvPr>
          <p:cNvGraphicFramePr>
            <a:graphicFrameLocks noChangeAspect="1"/>
          </p:cNvGraphicFramePr>
          <p:nvPr userDrawn="1">
            <p:custDataLst>
              <p:tags r:id="rId7"/>
            </p:custDataLst>
            <p:extLst>
              <p:ext uri="{D42A27DB-BD31-4B8C-83A1-F6EECF244321}">
                <p14:modId xmlns:p14="http://schemas.microsoft.com/office/powerpoint/2010/main" val="383930745"/>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スライド" r:id="rId9" imgW="360" imgH="360" progId="TCLayout.ActiveDocument.1">
                  <p:embed/>
                </p:oleObj>
              </mc:Choice>
              <mc:Fallback>
                <p:oleObj name="think-cell スライド" r:id="rId9" imgW="360" imgH="360" progId="TCLayout.ActiveDocument.1">
                  <p:embed/>
                  <p:pic>
                    <p:nvPicPr>
                      <p:cNvPr id="7" name="オブジェクト 6" hidden="1">
                        <a:extLst>
                          <a:ext uri="{FF2B5EF4-FFF2-40B4-BE49-F238E27FC236}">
                            <a16:creationId xmlns:a16="http://schemas.microsoft.com/office/drawing/2014/main" id="{63CC2770-6CAA-4391-B269-187D7EF57FB3}"/>
                          </a:ext>
                        </a:extLst>
                      </p:cNvPr>
                      <p:cNvPicPr/>
                      <p:nvPr/>
                    </p:nvPicPr>
                    <p:blipFill>
                      <a:blip r:embed="rId10"/>
                      <a:stretch>
                        <a:fillRect/>
                      </a:stretch>
                    </p:blipFill>
                    <p:spPr>
                      <a:xfrm>
                        <a:off x="1590" y="1589"/>
                        <a:ext cx="1588" cy="1588"/>
                      </a:xfrm>
                      <a:prstGeom prst="rect">
                        <a:avLst/>
                      </a:prstGeom>
                    </p:spPr>
                  </p:pic>
                </p:oleObj>
              </mc:Fallback>
            </mc:AlternateContent>
          </a:graphicData>
        </a:graphic>
      </p:graphicFrame>
      <p:sp>
        <p:nvSpPr>
          <p:cNvPr id="6" name="正方形/長方形 5" hidden="1">
            <a:extLst>
              <a:ext uri="{FF2B5EF4-FFF2-40B4-BE49-F238E27FC236}">
                <a16:creationId xmlns:a16="http://schemas.microsoft.com/office/drawing/2014/main" id="{3440F440-ADE6-41E3-A456-AF062FB7F88D}"/>
              </a:ext>
            </a:extLst>
          </p:cNvPr>
          <p:cNvSpPr/>
          <p:nvPr userDrawn="1">
            <p:custDataLst>
              <p:tags r:id="rId8"/>
            </p:custDataLst>
          </p:nvPr>
        </p:nvSpPr>
        <p:spPr>
          <a:xfrm>
            <a:off x="4" y="9"/>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200" b="0" i="0" baseline="0" dirty="0">
              <a:latin typeface="Segoe UI" panose="020B0502040204020203" pitchFamily="34" charset="0"/>
              <a:ea typeface="游ゴシック" panose="020B0400000000000000" pitchFamily="50" charset="-128"/>
              <a:cs typeface="+mj-cs"/>
              <a:sym typeface="Segoe UI" panose="020B0502040204020203" pitchFamily="34" charset="0"/>
            </a:endParaRPr>
          </a:p>
        </p:txBody>
      </p:sp>
      <p:pic>
        <p:nvPicPr>
          <p:cNvPr id="11" name="図 10" descr="e4_3A_bar.gif">
            <a:extLst>
              <a:ext uri="{FF2B5EF4-FFF2-40B4-BE49-F238E27FC236}">
                <a16:creationId xmlns:a16="http://schemas.microsoft.com/office/drawing/2014/main" id="{C489B1CC-457D-427F-8641-2F189BD4B2CA}"/>
              </a:ext>
            </a:extLst>
          </p:cNvPr>
          <p:cNvPicPr>
            <a:picLocks noChangeAspect="1"/>
          </p:cNvPicPr>
          <p:nvPr userDrawn="1"/>
        </p:nvPicPr>
        <p:blipFill>
          <a:blip r:embed="rId11" cstate="print"/>
          <a:stretch>
            <a:fillRect/>
          </a:stretch>
        </p:blipFill>
        <p:spPr>
          <a:xfrm>
            <a:off x="95250" y="6512312"/>
            <a:ext cx="8953500" cy="301064"/>
          </a:xfrm>
          <a:prstGeom prst="rect">
            <a:avLst/>
          </a:prstGeom>
        </p:spPr>
      </p:pic>
      <p:pic>
        <p:nvPicPr>
          <p:cNvPr id="12" name="図 11">
            <a:extLst>
              <a:ext uri="{FF2B5EF4-FFF2-40B4-BE49-F238E27FC236}">
                <a16:creationId xmlns:a16="http://schemas.microsoft.com/office/drawing/2014/main" id="{2D2C36FD-2792-4167-910A-8A002A6EDDD7}"/>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089688" y="6489896"/>
            <a:ext cx="874800" cy="251472"/>
          </a:xfrm>
          <a:prstGeom prst="rect">
            <a:avLst/>
          </a:prstGeom>
        </p:spPr>
      </p:pic>
      <p:pic>
        <p:nvPicPr>
          <p:cNvPr id="15" name="図 14">
            <a:extLst>
              <a:ext uri="{FF2B5EF4-FFF2-40B4-BE49-F238E27FC236}">
                <a16:creationId xmlns:a16="http://schemas.microsoft.com/office/drawing/2014/main" id="{9205E04B-E85A-4424-B42E-0B7D0AE17B1C}"/>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251520" y="6580867"/>
            <a:ext cx="763200" cy="160507"/>
          </a:xfrm>
          <a:prstGeom prst="rect">
            <a:avLst/>
          </a:prstGeom>
        </p:spPr>
      </p:pic>
      <p:sp>
        <p:nvSpPr>
          <p:cNvPr id="1026" name="タイトル プレースホルダ 1"/>
          <p:cNvSpPr>
            <a:spLocks noGrp="1"/>
          </p:cNvSpPr>
          <p:nvPr>
            <p:ph type="title"/>
          </p:nvPr>
        </p:nvSpPr>
        <p:spPr bwMode="auto">
          <a:xfrm>
            <a:off x="457200" y="188647"/>
            <a:ext cx="8229600" cy="936105"/>
          </a:xfrm>
          <a:prstGeom prst="rect">
            <a:avLst/>
          </a:prstGeom>
          <a:solidFill>
            <a:srgbClr val="E6F1FE"/>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dirty="0"/>
              <a:t>マスター タイトルの書式設定</a:t>
            </a:r>
          </a:p>
        </p:txBody>
      </p:sp>
      <p:sp>
        <p:nvSpPr>
          <p:cNvPr id="1027" name="テキスト プレースホルダ 2"/>
          <p:cNvSpPr>
            <a:spLocks noGrp="1"/>
          </p:cNvSpPr>
          <p:nvPr>
            <p:ph type="body" idx="1"/>
          </p:nvPr>
        </p:nvSpPr>
        <p:spPr bwMode="auto">
          <a:xfrm>
            <a:off x="457200" y="1268761"/>
            <a:ext cx="8229600" cy="50405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22" name="スライド番号プレースホルダ 13">
            <a:extLst>
              <a:ext uri="{FF2B5EF4-FFF2-40B4-BE49-F238E27FC236}">
                <a16:creationId xmlns:a16="http://schemas.microsoft.com/office/drawing/2014/main" id="{03A88E47-B49E-454B-AE75-E702952DF938}"/>
              </a:ext>
            </a:extLst>
          </p:cNvPr>
          <p:cNvSpPr>
            <a:spLocks noGrp="1"/>
          </p:cNvSpPr>
          <p:nvPr>
            <p:ph type="sldNum" sz="quarter" idx="4"/>
          </p:nvPr>
        </p:nvSpPr>
        <p:spPr>
          <a:xfrm>
            <a:off x="4249788" y="6460802"/>
            <a:ext cx="618028" cy="366182"/>
          </a:xfrm>
          <a:prstGeom prst="rect">
            <a:avLst/>
          </a:prstGeom>
        </p:spPr>
        <p:txBody>
          <a:bodyPr vert="horz" lIns="91440" tIns="45720" rIns="91440" bIns="45720" rtlCol="0" anchor="ctr"/>
          <a:lstStyle>
            <a:lvl1pPr algn="ctr">
              <a:defRPr sz="1416" b="1">
                <a:solidFill>
                  <a:srgbClr val="FFFFFF"/>
                </a:solidFill>
                <a:latin typeface="Century Gothic" pitchFamily="34" charset="0"/>
              </a:defRPr>
            </a:lvl1pPr>
          </a:lstStyle>
          <a:p>
            <a:fld id="{BEE7E999-D39D-4DC4-8260-5547312FA60C}" type="slidenum">
              <a:rPr lang="ja-JP" altLang="en-US" smtClean="0"/>
              <a:pPr/>
              <a:t>‹#›</a:t>
            </a:fld>
            <a:endParaRPr lang="ja-JP" altLang="en-US" dirty="0"/>
          </a:p>
        </p:txBody>
      </p:sp>
    </p:spTree>
    <p:extLst>
      <p:ext uri="{BB962C8B-B14F-4D97-AF65-F5344CB8AC3E}">
        <p14:creationId xmlns:p14="http://schemas.microsoft.com/office/powerpoint/2010/main" val="161269800"/>
      </p:ext>
    </p:extLst>
  </p:cSld>
  <p:clrMap bg1="lt1" tx1="dk1" bg2="lt2" tx2="dk2" accent1="accent1" accent2="accent2" accent3="accent3" accent4="accent4" accent5="accent5" accent6="accent6" hlink="hlink" folHlink="folHlink"/>
  <p:sldLayoutIdLst>
    <p:sldLayoutId id="2147483732" r:id="rId1"/>
    <p:sldLayoutId id="2147483736" r:id="rId2"/>
    <p:sldLayoutId id="2147483733" r:id="rId3"/>
    <p:sldLayoutId id="2147483735" r:id="rId4"/>
    <p:sldLayoutId id="2147483738" r:id="rId5"/>
  </p:sldLayoutIdLst>
  <p:hf hdr="0"/>
  <p:txStyles>
    <p:titleStyle>
      <a:lvl1pPr algn="ctr" rtl="0" eaLnBrk="1" fontAlgn="base" hangingPunct="1">
        <a:spcBef>
          <a:spcPct val="0"/>
        </a:spcBef>
        <a:spcAft>
          <a:spcPct val="0"/>
        </a:spcAft>
        <a:defRPr kumimoji="1" sz="2200" kern="1200">
          <a:solidFill>
            <a:schemeClr val="tx1"/>
          </a:solidFill>
          <a:latin typeface="+mj-lt"/>
          <a:ea typeface="+mj-ea"/>
          <a:cs typeface="+mj-cs"/>
        </a:defRPr>
      </a:lvl1pPr>
      <a:lvl2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2pPr>
      <a:lvl3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3pPr>
      <a:lvl4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4pPr>
      <a:lvl5pPr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5pPr>
      <a:lvl6pPr marL="42202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6pPr>
      <a:lvl7pPr marL="844058"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7pPr>
      <a:lvl8pPr marL="1266086"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8pPr>
      <a:lvl9pPr marL="1688112" algn="ctr" rtl="0" eaLnBrk="1" fontAlgn="base" hangingPunct="1">
        <a:spcBef>
          <a:spcPct val="0"/>
        </a:spcBef>
        <a:spcAft>
          <a:spcPct val="0"/>
        </a:spcAft>
        <a:defRPr kumimoji="1" sz="4063">
          <a:solidFill>
            <a:schemeClr val="tx1"/>
          </a:solidFill>
          <a:latin typeface="Calibri" pitchFamily="34" charset="0"/>
          <a:ea typeface="ＭＳ Ｐゴシック" pitchFamily="1" charset="-128"/>
        </a:defRPr>
      </a:lvl9pPr>
    </p:titleStyle>
    <p:bodyStyle>
      <a:lvl1pPr marL="265845" indent="-265845"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p:bodyStyle>
    <p:otherStyle>
      <a:defPPr>
        <a:defRPr lang="ja-JP"/>
      </a:defPPr>
      <a:lvl1pPr marL="0" algn="l" defTabSz="844058" rtl="0" eaLnBrk="1" latinLnBrk="0" hangingPunct="1">
        <a:defRPr kumimoji="1" sz="1661" kern="1200">
          <a:solidFill>
            <a:schemeClr val="tx1"/>
          </a:solidFill>
          <a:latin typeface="+mn-lt"/>
          <a:ea typeface="+mn-ea"/>
          <a:cs typeface="+mn-cs"/>
        </a:defRPr>
      </a:lvl1pPr>
      <a:lvl2pPr marL="422028" algn="l" defTabSz="844058" rtl="0" eaLnBrk="1" latinLnBrk="0" hangingPunct="1">
        <a:defRPr kumimoji="1" sz="1661" kern="1200">
          <a:solidFill>
            <a:schemeClr val="tx1"/>
          </a:solidFill>
          <a:latin typeface="+mn-lt"/>
          <a:ea typeface="+mn-ea"/>
          <a:cs typeface="+mn-cs"/>
        </a:defRPr>
      </a:lvl2pPr>
      <a:lvl3pPr marL="844058" algn="l" defTabSz="844058" rtl="0" eaLnBrk="1" latinLnBrk="0" hangingPunct="1">
        <a:defRPr kumimoji="1" sz="1661" kern="1200">
          <a:solidFill>
            <a:schemeClr val="tx1"/>
          </a:solidFill>
          <a:latin typeface="+mn-lt"/>
          <a:ea typeface="+mn-ea"/>
          <a:cs typeface="+mn-cs"/>
        </a:defRPr>
      </a:lvl3pPr>
      <a:lvl4pPr marL="1266086" algn="l" defTabSz="844058" rtl="0" eaLnBrk="1" latinLnBrk="0" hangingPunct="1">
        <a:defRPr kumimoji="1" sz="1661" kern="1200">
          <a:solidFill>
            <a:schemeClr val="tx1"/>
          </a:solidFill>
          <a:latin typeface="+mn-lt"/>
          <a:ea typeface="+mn-ea"/>
          <a:cs typeface="+mn-cs"/>
        </a:defRPr>
      </a:lvl4pPr>
      <a:lvl5pPr marL="1688112" algn="l" defTabSz="844058" rtl="0" eaLnBrk="1" latinLnBrk="0" hangingPunct="1">
        <a:defRPr kumimoji="1" sz="1661" kern="1200">
          <a:solidFill>
            <a:schemeClr val="tx1"/>
          </a:solidFill>
          <a:latin typeface="+mn-lt"/>
          <a:ea typeface="+mn-ea"/>
          <a:cs typeface="+mn-cs"/>
        </a:defRPr>
      </a:lvl5pPr>
      <a:lvl6pPr marL="2110142" algn="l" defTabSz="844058" rtl="0" eaLnBrk="1" latinLnBrk="0" hangingPunct="1">
        <a:defRPr kumimoji="1" sz="1661" kern="1200">
          <a:solidFill>
            <a:schemeClr val="tx1"/>
          </a:solidFill>
          <a:latin typeface="+mn-lt"/>
          <a:ea typeface="+mn-ea"/>
          <a:cs typeface="+mn-cs"/>
        </a:defRPr>
      </a:lvl6pPr>
      <a:lvl7pPr marL="2532170" algn="l" defTabSz="844058" rtl="0" eaLnBrk="1" latinLnBrk="0" hangingPunct="1">
        <a:defRPr kumimoji="1" sz="1661" kern="1200">
          <a:solidFill>
            <a:schemeClr val="tx1"/>
          </a:solidFill>
          <a:latin typeface="+mn-lt"/>
          <a:ea typeface="+mn-ea"/>
          <a:cs typeface="+mn-cs"/>
        </a:defRPr>
      </a:lvl7pPr>
      <a:lvl8pPr marL="2954199" algn="l" defTabSz="844058" rtl="0" eaLnBrk="1" latinLnBrk="0" hangingPunct="1">
        <a:defRPr kumimoji="1" sz="1661" kern="1200">
          <a:solidFill>
            <a:schemeClr val="tx1"/>
          </a:solidFill>
          <a:latin typeface="+mn-lt"/>
          <a:ea typeface="+mn-ea"/>
          <a:cs typeface="+mn-cs"/>
        </a:defRPr>
      </a:lvl8pPr>
      <a:lvl9pPr marL="3376226" algn="l" defTabSz="844058" rtl="0" eaLnBrk="1" latinLnBrk="0" hangingPunct="1">
        <a:defRPr kumimoji="1" sz="166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image" Target="../media/image33.png"/><Relationship Id="rId4" Type="http://schemas.openxmlformats.org/officeDocument/2006/relationships/image" Target="../media/image37.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4.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45.png"/><Relationship Id="rId11" Type="http://schemas.openxmlformats.org/officeDocument/2006/relationships/image" Target="../media/image46.svg"/><Relationship Id="rId5" Type="http://schemas.openxmlformats.org/officeDocument/2006/relationships/image" Target="../media/image50.png"/><Relationship Id="rId10" Type="http://schemas.openxmlformats.org/officeDocument/2006/relationships/image" Target="../media/image39.png"/><Relationship Id="rId4" Type="http://schemas.openxmlformats.org/officeDocument/2006/relationships/image" Target="../media/image49.png"/><Relationship Id="rId9"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8.png"/><Relationship Id="rId7" Type="http://schemas.openxmlformats.org/officeDocument/2006/relationships/image" Target="../media/image46.svg"/><Relationship Id="rId12" Type="http://schemas.openxmlformats.org/officeDocument/2006/relationships/image" Target="../media/image47.jpg"/><Relationship Id="rId17" Type="http://schemas.openxmlformats.org/officeDocument/2006/relationships/image" Target="../media/image70.png"/><Relationship Id="rId2" Type="http://schemas.openxmlformats.org/officeDocument/2006/relationships/notesSlide" Target="../notesSlides/notesSlide18.xml"/><Relationship Id="rId16" Type="http://schemas.openxmlformats.org/officeDocument/2006/relationships/image" Target="../media/image69.png"/><Relationship Id="rId1" Type="http://schemas.openxmlformats.org/officeDocument/2006/relationships/slideLayout" Target="../slideLayouts/slideLayout9.xml"/><Relationship Id="rId6" Type="http://schemas.openxmlformats.org/officeDocument/2006/relationships/image" Target="../media/image39.png"/><Relationship Id="rId11" Type="http://schemas.openxmlformats.org/officeDocument/2006/relationships/image" Target="../media/image51.png"/><Relationship Id="rId5" Type="http://schemas.openxmlformats.org/officeDocument/2006/relationships/image" Target="../media/image60.pn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9.png"/><Relationship Id="rId9" Type="http://schemas.openxmlformats.org/officeDocument/2006/relationships/image" Target="../media/image62.png"/><Relationship Id="rId14"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18.png"/><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1.png"/><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29.png"/><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33.png"/><Relationship Id="rId5" Type="http://schemas.openxmlformats.org/officeDocument/2006/relationships/image" Target="../media/image29.png"/><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1878271C-6BA1-42B2-8091-8E78353CC4CB}"/>
              </a:ext>
            </a:extLst>
          </p:cNvPr>
          <p:cNvGraphicFramePr>
            <a:graphicFrameLocks noChangeAspect="1"/>
          </p:cNvGraphicFramePr>
          <p:nvPr>
            <p:custDataLst>
              <p:tags r:id="rId1"/>
            </p:custDataLst>
            <p:extLst>
              <p:ext uri="{D42A27DB-BD31-4B8C-83A1-F6EECF244321}">
                <p14:modId xmlns:p14="http://schemas.microsoft.com/office/powerpoint/2010/main" val="202475494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210" imgH="209" progId="TCLayout.ActiveDocument.1">
                  <p:embed/>
                </p:oleObj>
              </mc:Choice>
              <mc:Fallback>
                <p:oleObj name="think-cell スライド" r:id="rId4" imgW="210" imgH="209" progId="TCLayout.ActiveDocument.1">
                  <p:embed/>
                  <p:pic>
                    <p:nvPicPr>
                      <p:cNvPr id="2" name="オブジェクト 1" hidden="1">
                        <a:extLst>
                          <a:ext uri="{FF2B5EF4-FFF2-40B4-BE49-F238E27FC236}">
                            <a16:creationId xmlns:a16="http://schemas.microsoft.com/office/drawing/2014/main" id="{1878271C-6BA1-42B2-8091-8E78353CC4C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1" name="タイトル 40">
            <a:extLst>
              <a:ext uri="{FF2B5EF4-FFF2-40B4-BE49-F238E27FC236}">
                <a16:creationId xmlns:a16="http://schemas.microsoft.com/office/drawing/2014/main" id="{8CB73E8D-85AE-4C4B-9AC7-FA18218BA6D0}"/>
              </a:ext>
            </a:extLst>
          </p:cNvPr>
          <p:cNvSpPr>
            <a:spLocks noGrp="1"/>
          </p:cNvSpPr>
          <p:nvPr>
            <p:ph type="ctrTitle"/>
          </p:nvPr>
        </p:nvSpPr>
        <p:spPr>
          <a:xfrm>
            <a:off x="522108" y="935346"/>
            <a:ext cx="8099784" cy="1470027"/>
          </a:xfrm>
        </p:spPr>
        <p:txBody>
          <a:bodyPr vert="horz" anchor="b"/>
          <a:lstStyle/>
          <a:p>
            <a:r>
              <a:rPr lang="en-US" altLang="ja-JP" sz="2300" dirty="0"/>
              <a:t>A Dynamic HRA Framework for Persistently Responding to Environmental Changes: </a:t>
            </a:r>
            <a:br>
              <a:rPr lang="en-US" altLang="ja-JP" sz="2300" dirty="0"/>
            </a:br>
            <a:r>
              <a:rPr lang="en-US" altLang="ja-JP" sz="2000" dirty="0"/>
              <a:t>A Preliminary Test of Competing Outcomes Sampling Using the Proposed Concurrent Continuous Markov Chain Monte Carlo (Co-CMMC) Method (#LI105)</a:t>
            </a:r>
            <a:endParaRPr lang="ja-JP" altLang="en-US" sz="2000" dirty="0"/>
          </a:p>
        </p:txBody>
      </p:sp>
      <p:sp>
        <p:nvSpPr>
          <p:cNvPr id="5" name="字幕 4">
            <a:extLst>
              <a:ext uri="{FF2B5EF4-FFF2-40B4-BE49-F238E27FC236}">
                <a16:creationId xmlns:a16="http://schemas.microsoft.com/office/drawing/2014/main" id="{9A6C1695-9DD3-B74E-48B5-1A2FEB683095}"/>
              </a:ext>
            </a:extLst>
          </p:cNvPr>
          <p:cNvSpPr>
            <a:spLocks noGrp="1"/>
          </p:cNvSpPr>
          <p:nvPr>
            <p:ph type="subTitle" idx="1"/>
          </p:nvPr>
        </p:nvSpPr>
        <p:spPr>
          <a:xfrm>
            <a:off x="1915427" y="3918328"/>
            <a:ext cx="5609743" cy="355036"/>
          </a:xfrm>
        </p:spPr>
        <p:txBody>
          <a:bodyPr/>
          <a:lstStyle/>
          <a:p>
            <a:r>
              <a:rPr lang="en-US" altLang="ja-JP" dirty="0"/>
              <a:t>Nuclear Risk Research Center</a:t>
            </a:r>
            <a:endParaRPr lang="ja-JP" altLang="en-US" dirty="0"/>
          </a:p>
        </p:txBody>
      </p:sp>
      <p:sp>
        <p:nvSpPr>
          <p:cNvPr id="6" name="テキスト プレースホルダー 5">
            <a:extLst>
              <a:ext uri="{FF2B5EF4-FFF2-40B4-BE49-F238E27FC236}">
                <a16:creationId xmlns:a16="http://schemas.microsoft.com/office/drawing/2014/main" id="{C90C71E5-1972-FBC6-A93D-2911DF47E992}"/>
              </a:ext>
            </a:extLst>
          </p:cNvPr>
          <p:cNvSpPr>
            <a:spLocks noGrp="1"/>
          </p:cNvSpPr>
          <p:nvPr>
            <p:ph type="body" idx="14"/>
          </p:nvPr>
        </p:nvSpPr>
        <p:spPr/>
        <p:txBody>
          <a:bodyPr/>
          <a:lstStyle/>
          <a:p>
            <a:r>
              <a:rPr lang="en-US" altLang="zh-TW" u="sng" dirty="0"/>
              <a:t>Chun-Yen Li</a:t>
            </a:r>
            <a:r>
              <a:rPr lang="en-US" altLang="zh-TW" dirty="0"/>
              <a:t>, Yukihiro Kirimoto</a:t>
            </a:r>
            <a:endParaRPr lang="ja-JP" altLang="en-US" dirty="0"/>
          </a:p>
        </p:txBody>
      </p:sp>
      <p:sp>
        <p:nvSpPr>
          <p:cNvPr id="8" name="テキスト プレースホルダー 7">
            <a:extLst>
              <a:ext uri="{FF2B5EF4-FFF2-40B4-BE49-F238E27FC236}">
                <a16:creationId xmlns:a16="http://schemas.microsoft.com/office/drawing/2014/main" id="{D989AC24-27D0-4214-A8C9-DBB019509311}"/>
              </a:ext>
            </a:extLst>
          </p:cNvPr>
          <p:cNvSpPr>
            <a:spLocks noGrp="1"/>
          </p:cNvSpPr>
          <p:nvPr>
            <p:ph sz="quarter" idx="18"/>
          </p:nvPr>
        </p:nvSpPr>
        <p:spPr/>
        <p:txBody>
          <a:bodyPr/>
          <a:lstStyle/>
          <a:p>
            <a:r>
              <a:rPr kumimoji="1" lang="en-US" altLang="ja-JP" dirty="0"/>
              <a:t>2026/</a:t>
            </a:r>
            <a:r>
              <a:rPr lang="en-US" altLang="ja-JP" dirty="0"/>
              <a:t>07</a:t>
            </a:r>
            <a:r>
              <a:rPr kumimoji="1" lang="en-US" altLang="ja-JP" dirty="0"/>
              <a:t>/20</a:t>
            </a:r>
            <a:endParaRPr kumimoji="1" lang="ja-JP" altLang="en-US" dirty="0"/>
          </a:p>
        </p:txBody>
      </p:sp>
      <p:pic>
        <p:nvPicPr>
          <p:cNvPr id="10" name="図 9">
            <a:extLst>
              <a:ext uri="{FF2B5EF4-FFF2-40B4-BE49-F238E27FC236}">
                <a16:creationId xmlns:a16="http://schemas.microsoft.com/office/drawing/2014/main" id="{93A8DCAD-36AC-A103-B8AC-677D59221D39}"/>
              </a:ext>
            </a:extLst>
          </p:cNvPr>
          <p:cNvPicPr>
            <a:picLocks noChangeAspect="1"/>
          </p:cNvPicPr>
          <p:nvPr/>
        </p:nvPicPr>
        <p:blipFill>
          <a:blip r:embed="rId6"/>
          <a:srcRect l="14911" r="19299"/>
          <a:stretch>
            <a:fillRect/>
          </a:stretch>
        </p:blipFill>
        <p:spPr>
          <a:xfrm>
            <a:off x="7236296" y="5922655"/>
            <a:ext cx="1800200" cy="865908"/>
          </a:xfrm>
          <a:prstGeom prst="rect">
            <a:avLst/>
          </a:prstGeom>
        </p:spPr>
      </p:pic>
    </p:spTree>
    <p:extLst>
      <p:ext uri="{BB962C8B-B14F-4D97-AF65-F5344CB8AC3E}">
        <p14:creationId xmlns:p14="http://schemas.microsoft.com/office/powerpoint/2010/main" val="3830389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C862D-FEB7-9ACE-EF63-F5C463275621}"/>
            </a:ext>
          </a:extLst>
        </p:cNvPr>
        <p:cNvGrpSpPr/>
        <p:nvPr/>
      </p:nvGrpSpPr>
      <p:grpSpPr>
        <a:xfrm>
          <a:off x="0" y="0"/>
          <a:ext cx="0" cy="0"/>
          <a:chOff x="0" y="0"/>
          <a:chExt cx="0" cy="0"/>
        </a:xfrm>
      </p:grpSpPr>
      <p:sp>
        <p:nvSpPr>
          <p:cNvPr id="9" name="テキスト プレースホルダー 8">
            <a:extLst>
              <a:ext uri="{FF2B5EF4-FFF2-40B4-BE49-F238E27FC236}">
                <a16:creationId xmlns:a16="http://schemas.microsoft.com/office/drawing/2014/main" id="{05EDAB67-4D81-4374-95D2-D6930BADDFE0}"/>
              </a:ext>
            </a:extLst>
          </p:cNvPr>
          <p:cNvSpPr>
            <a:spLocks noGrp="1"/>
          </p:cNvSpPr>
          <p:nvPr>
            <p:ph type="body" sz="quarter" idx="14"/>
          </p:nvPr>
        </p:nvSpPr>
        <p:spPr>
          <a:xfrm>
            <a:off x="5417711" y="1240443"/>
            <a:ext cx="3762807" cy="4276791"/>
          </a:xfrm>
        </p:spPr>
        <p:txBody>
          <a:bodyPr/>
          <a:lstStyle/>
          <a:p>
            <a:r>
              <a:rPr lang="en-US" altLang="ja-JP" sz="1800" dirty="0"/>
              <a:t>System</a:t>
            </a:r>
          </a:p>
          <a:p>
            <a:pPr lvl="1"/>
            <a:r>
              <a:rPr lang="en-US" altLang="ja-JP" dirty="0"/>
              <a:t>ACS:</a:t>
            </a:r>
          </a:p>
          <a:p>
            <a:pPr lvl="2"/>
            <a:r>
              <a:rPr lang="en-US" altLang="ja-JP" sz="1400" dirty="0"/>
              <a:t>Air cooler (decay heat removal)</a:t>
            </a:r>
          </a:p>
          <a:p>
            <a:pPr marL="797534" lvl="3" indent="0">
              <a:buNone/>
            </a:pPr>
            <a:endParaRPr lang="en-US" altLang="ja-JP" sz="1400" dirty="0"/>
          </a:p>
          <a:p>
            <a:r>
              <a:rPr lang="en-US" altLang="ja-JP" sz="1800" dirty="0"/>
              <a:t>System could be </a:t>
            </a:r>
            <a:r>
              <a:rPr lang="en-US" altLang="ja-JP" sz="1800" b="1" dirty="0"/>
              <a:t>failed</a:t>
            </a:r>
            <a:r>
              <a:rPr lang="en-US" altLang="ja-JP" sz="1800" dirty="0"/>
              <a:t> due to:</a:t>
            </a:r>
          </a:p>
          <a:p>
            <a:pPr lvl="1"/>
            <a:r>
              <a:rPr lang="en-US" altLang="ja-JP" dirty="0"/>
              <a:t>Ash clogged on the filter</a:t>
            </a:r>
          </a:p>
          <a:p>
            <a:pPr lvl="1"/>
            <a:endParaRPr lang="en-US" altLang="ja-JP" dirty="0"/>
          </a:p>
          <a:p>
            <a:r>
              <a:rPr lang="en-US" altLang="ja-JP" sz="1800" dirty="0"/>
              <a:t> System can be </a:t>
            </a:r>
            <a:r>
              <a:rPr lang="en-US" altLang="ja-JP" sz="1800" b="1" dirty="0"/>
              <a:t>repaired</a:t>
            </a:r>
            <a:r>
              <a:rPr lang="en-US" altLang="ja-JP" sz="1800" dirty="0"/>
              <a:t> by:</a:t>
            </a:r>
          </a:p>
          <a:p>
            <a:pPr lvl="1"/>
            <a:r>
              <a:rPr lang="en-US" altLang="ja-JP" dirty="0"/>
              <a:t>Replacing the malfunctioning filter with a new one</a:t>
            </a:r>
          </a:p>
          <a:p>
            <a:pPr lvl="1"/>
            <a:endParaRPr lang="en-US" altLang="ja-JP" dirty="0"/>
          </a:p>
          <a:p>
            <a:pPr lvl="1"/>
            <a:endParaRPr lang="en-US" altLang="ja-JP" dirty="0"/>
          </a:p>
          <a:p>
            <a:endParaRPr lang="en-US" altLang="ja-JP" sz="1400" dirty="0"/>
          </a:p>
          <a:p>
            <a:pPr marL="0" indent="0">
              <a:buNone/>
            </a:pPr>
            <a:endParaRPr lang="en-US" altLang="ja-JP" sz="1800" dirty="0"/>
          </a:p>
          <a:p>
            <a:pPr marL="874581" lvl="2" indent="-342891">
              <a:buFont typeface="+mj-lt"/>
              <a:buAutoNum type="arabicPeriod"/>
            </a:pPr>
            <a:endParaRPr lang="en-US" altLang="ja-JP" sz="1400" dirty="0"/>
          </a:p>
          <a:p>
            <a:pPr marL="874581" lvl="2" indent="-342891">
              <a:buFont typeface="+mj-lt"/>
              <a:buAutoNum type="arabicPeriod"/>
            </a:pPr>
            <a:endParaRPr lang="ja-JP" altLang="en-US" sz="1400"/>
          </a:p>
        </p:txBody>
      </p:sp>
      <p:sp>
        <p:nvSpPr>
          <p:cNvPr id="250" name="角丸四角形 249">
            <a:extLst>
              <a:ext uri="{FF2B5EF4-FFF2-40B4-BE49-F238E27FC236}">
                <a16:creationId xmlns:a16="http://schemas.microsoft.com/office/drawing/2014/main" id="{EFEB13F9-8987-0E70-E0EB-E769AAD12215}"/>
              </a:ext>
            </a:extLst>
          </p:cNvPr>
          <p:cNvSpPr/>
          <p:nvPr/>
        </p:nvSpPr>
        <p:spPr>
          <a:xfrm>
            <a:off x="5372870" y="3212976"/>
            <a:ext cx="3618791" cy="936104"/>
          </a:xfrm>
          <a:prstGeom prst="roundRect">
            <a:avLst/>
          </a:prstGeom>
          <a:no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プレースホルダー 9">
            <a:extLst>
              <a:ext uri="{FF2B5EF4-FFF2-40B4-BE49-F238E27FC236}">
                <a16:creationId xmlns:a16="http://schemas.microsoft.com/office/drawing/2014/main" id="{2C3963D4-E046-8016-4D0D-C5CA51FEBD3D}"/>
              </a:ext>
            </a:extLst>
          </p:cNvPr>
          <p:cNvSpPr>
            <a:spLocks noGrp="1"/>
          </p:cNvSpPr>
          <p:nvPr>
            <p:ph type="body" sz="quarter" idx="15"/>
          </p:nvPr>
        </p:nvSpPr>
        <p:spPr>
          <a:xfrm>
            <a:off x="256624" y="6163992"/>
            <a:ext cx="8395015" cy="251004"/>
          </a:xfrm>
        </p:spPr>
        <p:txBody>
          <a:bodyPr/>
          <a:lstStyle/>
          <a:p>
            <a:r>
              <a:rPr lang="en-US" altLang="ja-JP" b="1" dirty="0"/>
              <a:t>SFR:  Sodium-cooled Fast Reactor; </a:t>
            </a:r>
          </a:p>
          <a:p>
            <a:r>
              <a:rPr lang="en-US" altLang="ja-JP" b="1" dirty="0"/>
              <a:t>ACS: Auxiliary Cooling System; </a:t>
            </a:r>
          </a:p>
          <a:p>
            <a:endParaRPr lang="en-US" altLang="ja-JP" b="1" dirty="0"/>
          </a:p>
        </p:txBody>
      </p:sp>
      <p:sp>
        <p:nvSpPr>
          <p:cNvPr id="8" name="タイトル 7">
            <a:extLst>
              <a:ext uri="{FF2B5EF4-FFF2-40B4-BE49-F238E27FC236}">
                <a16:creationId xmlns:a16="http://schemas.microsoft.com/office/drawing/2014/main" id="{71AFD9CF-0D05-E458-F4D4-B9111CA3E8B9}"/>
              </a:ext>
            </a:extLst>
          </p:cNvPr>
          <p:cNvSpPr>
            <a:spLocks noGrp="1"/>
          </p:cNvSpPr>
          <p:nvPr>
            <p:ph type="title"/>
          </p:nvPr>
        </p:nvSpPr>
        <p:spPr/>
        <p:txBody>
          <a:bodyPr/>
          <a:lstStyle/>
          <a:p>
            <a:r>
              <a:rPr lang="en-US" altLang="ja-JP" dirty="0"/>
              <a:t>Test Scenario </a:t>
            </a:r>
            <a:r>
              <a:rPr lang="en-US" altLang="zh-TW" sz="2000" dirty="0">
                <a:cs typeface="Calibri" panose="020F0502020204030204" pitchFamily="34" charset="0"/>
              </a:rPr>
              <a:t>—</a:t>
            </a:r>
            <a:r>
              <a:rPr lang="en-US" altLang="ja-JP" sz="2000" dirty="0"/>
              <a:t> Volcanic Ashfall Hazard </a:t>
            </a:r>
            <a:r>
              <a:rPr lang="en-US" altLang="zh-TW" sz="2000" dirty="0">
                <a:cs typeface="Calibri" panose="020F0502020204030204" pitchFamily="34" charset="0"/>
              </a:rPr>
              <a:t>—</a:t>
            </a:r>
            <a:endParaRPr lang="ja-JP" altLang="en-US" sz="2000"/>
          </a:p>
        </p:txBody>
      </p:sp>
      <p:sp>
        <p:nvSpPr>
          <p:cNvPr id="222" name="テキスト プレースホルダー 5">
            <a:extLst>
              <a:ext uri="{FF2B5EF4-FFF2-40B4-BE49-F238E27FC236}">
                <a16:creationId xmlns:a16="http://schemas.microsoft.com/office/drawing/2014/main" id="{D7ABCBC5-A414-20D9-B74B-47136BC6D696}"/>
              </a:ext>
            </a:extLst>
          </p:cNvPr>
          <p:cNvSpPr txBox="1">
            <a:spLocks/>
          </p:cNvSpPr>
          <p:nvPr/>
        </p:nvSpPr>
        <p:spPr>
          <a:xfrm>
            <a:off x="-108519" y="1240442"/>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SFR under volcanic ashfall </a:t>
            </a:r>
          </a:p>
        </p:txBody>
      </p:sp>
      <p:cxnSp>
        <p:nvCxnSpPr>
          <p:cNvPr id="223" name="直線コネクタ 222">
            <a:extLst>
              <a:ext uri="{FF2B5EF4-FFF2-40B4-BE49-F238E27FC236}">
                <a16:creationId xmlns:a16="http://schemas.microsoft.com/office/drawing/2014/main" id="{2C034579-6488-E3D6-6A40-1C2AE5C3B232}"/>
              </a:ext>
            </a:extLst>
          </p:cNvPr>
          <p:cNvCxnSpPr>
            <a:cxnSpLocks/>
          </p:cNvCxnSpPr>
          <p:nvPr/>
        </p:nvCxnSpPr>
        <p:spPr>
          <a:xfrm>
            <a:off x="256624" y="1565419"/>
            <a:ext cx="460340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2BEB5DBA-EE17-17D6-5245-F6F0BAF1EA29}"/>
              </a:ext>
            </a:extLst>
          </p:cNvPr>
          <p:cNvSpPr txBox="1"/>
          <p:nvPr/>
        </p:nvSpPr>
        <p:spPr>
          <a:xfrm>
            <a:off x="5318534" y="4468435"/>
            <a:ext cx="2697403" cy="307777"/>
          </a:xfrm>
          <a:prstGeom prst="rect">
            <a:avLst/>
          </a:prstGeom>
          <a:noFill/>
        </p:spPr>
        <p:txBody>
          <a:bodyPr wrap="square" rtlCol="0">
            <a:spAutoFit/>
          </a:bodyPr>
          <a:lstStyle/>
          <a:p>
            <a:pPr algn="l"/>
            <a:r>
              <a:rPr lang="en-US" altLang="ja-JP" sz="1400" b="1" dirty="0">
                <a:solidFill>
                  <a:schemeClr val="tx2"/>
                </a:solidFill>
                <a:latin typeface="+mj-lt"/>
              </a:rPr>
              <a:t>Point in this study</a:t>
            </a:r>
          </a:p>
        </p:txBody>
      </p:sp>
      <p:cxnSp>
        <p:nvCxnSpPr>
          <p:cNvPr id="7" name="直線矢印コネクタ 6">
            <a:extLst>
              <a:ext uri="{FF2B5EF4-FFF2-40B4-BE49-F238E27FC236}">
                <a16:creationId xmlns:a16="http://schemas.microsoft.com/office/drawing/2014/main" id="{E076113E-260B-316D-0195-FDA557F326D3}"/>
              </a:ext>
            </a:extLst>
          </p:cNvPr>
          <p:cNvCxnSpPr>
            <a:cxnSpLocks/>
          </p:cNvCxnSpPr>
          <p:nvPr/>
        </p:nvCxnSpPr>
        <p:spPr>
          <a:xfrm flipV="1">
            <a:off x="5751296" y="4149082"/>
            <a:ext cx="144016" cy="3544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2">
            <a:extLst>
              <a:ext uri="{FF2B5EF4-FFF2-40B4-BE49-F238E27FC236}">
                <a16:creationId xmlns:a16="http://schemas.microsoft.com/office/drawing/2014/main" id="{AA7EA0C6-6A0E-4C10-9AC1-2F76B05B7261}"/>
              </a:ext>
            </a:extLst>
          </p:cNvPr>
          <p:cNvPicPr>
            <a:picLocks noChangeAspect="1"/>
          </p:cNvPicPr>
          <p:nvPr/>
        </p:nvPicPr>
        <p:blipFill>
          <a:blip r:embed="rId3"/>
          <a:srcRect l="42524" t="16971" r="1219" b="5009"/>
          <a:stretch>
            <a:fillRect/>
          </a:stretch>
        </p:blipFill>
        <p:spPr>
          <a:xfrm>
            <a:off x="152339" y="1728850"/>
            <a:ext cx="5121354" cy="3961898"/>
          </a:xfrm>
          <a:prstGeom prst="rect">
            <a:avLst/>
          </a:prstGeom>
          <a:solidFill>
            <a:schemeClr val="bg1"/>
          </a:solidFill>
        </p:spPr>
      </p:pic>
      <p:sp>
        <p:nvSpPr>
          <p:cNvPr id="4" name="正方形/長方形 3">
            <a:extLst>
              <a:ext uri="{FF2B5EF4-FFF2-40B4-BE49-F238E27FC236}">
                <a16:creationId xmlns:a16="http://schemas.microsoft.com/office/drawing/2014/main" id="{6D33B769-5007-483C-7924-49FB777A3298}"/>
              </a:ext>
            </a:extLst>
          </p:cNvPr>
          <p:cNvSpPr/>
          <p:nvPr/>
        </p:nvSpPr>
        <p:spPr>
          <a:xfrm>
            <a:off x="152339" y="2996952"/>
            <a:ext cx="1755365" cy="2693796"/>
          </a:xfrm>
          <a:prstGeom prst="rect">
            <a:avLst/>
          </a:prstGeom>
          <a:solidFill>
            <a:schemeClr val="accent4">
              <a:lumMod val="40000"/>
              <a:lumOff val="60000"/>
              <a:alpha val="21605"/>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615287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CAA6-9684-AEF0-E8BA-5A00D2B4C0A9}"/>
            </a:ext>
          </a:extLst>
        </p:cNvPr>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AD540C8F-588E-BB91-923A-5150A6912A0D}"/>
              </a:ext>
            </a:extLst>
          </p:cNvPr>
          <p:cNvGrpSpPr/>
          <p:nvPr/>
        </p:nvGrpSpPr>
        <p:grpSpPr>
          <a:xfrm>
            <a:off x="237748" y="3284984"/>
            <a:ext cx="6768752" cy="3168352"/>
            <a:chOff x="355040" y="3356992"/>
            <a:chExt cx="6768752" cy="3168352"/>
          </a:xfrm>
        </p:grpSpPr>
        <p:pic>
          <p:nvPicPr>
            <p:cNvPr id="16" name="図 15">
              <a:extLst>
                <a:ext uri="{FF2B5EF4-FFF2-40B4-BE49-F238E27FC236}">
                  <a16:creationId xmlns:a16="http://schemas.microsoft.com/office/drawing/2014/main" id="{CFEB2FBF-D949-FB68-1F33-1E886BFF3618}"/>
                </a:ext>
              </a:extLst>
            </p:cNvPr>
            <p:cNvPicPr>
              <a:picLocks noChangeAspect="1"/>
            </p:cNvPicPr>
            <p:nvPr/>
          </p:nvPicPr>
          <p:blipFill>
            <a:blip r:embed="rId3">
              <a:extLst>
                <a:ext uri="{28A0092B-C50C-407E-A947-70E740481C1C}">
                  <a14:useLocalDpi xmlns:a14="http://schemas.microsoft.com/office/drawing/2010/main" val="0"/>
                </a:ext>
              </a:extLst>
            </a:blip>
            <a:srcRect t="19647"/>
            <a:stretch>
              <a:fillRect/>
            </a:stretch>
          </p:blipFill>
          <p:spPr>
            <a:xfrm>
              <a:off x="355040" y="3464335"/>
              <a:ext cx="6768752" cy="3061009"/>
            </a:xfrm>
            <a:prstGeom prst="rect">
              <a:avLst/>
            </a:prstGeom>
          </p:spPr>
        </p:pic>
        <p:pic>
          <p:nvPicPr>
            <p:cNvPr id="23" name="図 22">
              <a:extLst>
                <a:ext uri="{FF2B5EF4-FFF2-40B4-BE49-F238E27FC236}">
                  <a16:creationId xmlns:a16="http://schemas.microsoft.com/office/drawing/2014/main" id="{B22B8E74-7232-15F2-EF30-9978EEAA0E6A}"/>
                </a:ext>
              </a:extLst>
            </p:cNvPr>
            <p:cNvPicPr>
              <a:picLocks noChangeAspect="1"/>
            </p:cNvPicPr>
            <p:nvPr/>
          </p:nvPicPr>
          <p:blipFill>
            <a:blip r:embed="rId3">
              <a:extLst>
                <a:ext uri="{28A0092B-C50C-407E-A947-70E740481C1C}">
                  <a14:useLocalDpi xmlns:a14="http://schemas.microsoft.com/office/drawing/2010/main" val="0"/>
                </a:ext>
              </a:extLst>
            </a:blip>
            <a:srcRect t="11326" b="80941"/>
            <a:stretch>
              <a:fillRect/>
            </a:stretch>
          </p:blipFill>
          <p:spPr>
            <a:xfrm>
              <a:off x="355040" y="3356992"/>
              <a:ext cx="6768752" cy="294592"/>
            </a:xfrm>
            <a:prstGeom prst="rect">
              <a:avLst/>
            </a:prstGeom>
          </p:spPr>
        </p:pic>
      </p:grpSp>
      <p:sp>
        <p:nvSpPr>
          <p:cNvPr id="2" name="タイトル 1">
            <a:extLst>
              <a:ext uri="{FF2B5EF4-FFF2-40B4-BE49-F238E27FC236}">
                <a16:creationId xmlns:a16="http://schemas.microsoft.com/office/drawing/2014/main" id="{E4E659D0-2F87-0FD2-72A5-0EF51B124B96}"/>
              </a:ext>
            </a:extLst>
          </p:cNvPr>
          <p:cNvSpPr>
            <a:spLocks noGrp="1"/>
          </p:cNvSpPr>
          <p:nvPr>
            <p:ph type="title"/>
          </p:nvPr>
        </p:nvSpPr>
        <p:spPr>
          <a:xfrm>
            <a:off x="374496" y="332656"/>
            <a:ext cx="8769504" cy="779116"/>
          </a:xfrm>
        </p:spPr>
        <p:txBody>
          <a:bodyPr/>
          <a:lstStyle/>
          <a:p>
            <a:pPr algn="l"/>
            <a:r>
              <a:rPr lang="en-US" altLang="ja-JP" dirty="0"/>
              <a:t>Test Scenario </a:t>
            </a:r>
            <a:r>
              <a:rPr lang="en-US" altLang="zh-TW" sz="2000" dirty="0">
                <a:cs typeface="Calibri" panose="020F0502020204030204" pitchFamily="34" charset="0"/>
              </a:rPr>
              <a:t>—</a:t>
            </a:r>
            <a:r>
              <a:rPr lang="en-US" altLang="ja-JP" sz="2000" dirty="0"/>
              <a:t> Repair Task </a:t>
            </a:r>
            <a:r>
              <a:rPr lang="en-US" altLang="zh-TW" sz="2000" dirty="0">
                <a:cs typeface="Calibri" panose="020F0502020204030204" pitchFamily="34" charset="0"/>
              </a:rPr>
              <a:t>—</a:t>
            </a:r>
            <a:endParaRPr kumimoji="1" lang="ja-JP" altLang="en-US" sz="2000" dirty="0"/>
          </a:p>
        </p:txBody>
      </p:sp>
      <p:sp>
        <p:nvSpPr>
          <p:cNvPr id="91" name="テキスト プレースホルダー 5">
            <a:extLst>
              <a:ext uri="{FF2B5EF4-FFF2-40B4-BE49-F238E27FC236}">
                <a16:creationId xmlns:a16="http://schemas.microsoft.com/office/drawing/2014/main" id="{C382146C-EF1B-370D-B661-71BB758D43A0}"/>
              </a:ext>
            </a:extLst>
          </p:cNvPr>
          <p:cNvSpPr txBox="1">
            <a:spLocks/>
          </p:cNvSpPr>
          <p:nvPr/>
        </p:nvSpPr>
        <p:spPr>
          <a:xfrm>
            <a:off x="0" y="2842231"/>
            <a:ext cx="6696744"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Repair Task Explanation: Filter Replacement</a:t>
            </a:r>
          </a:p>
        </p:txBody>
      </p:sp>
      <p:cxnSp>
        <p:nvCxnSpPr>
          <p:cNvPr id="92" name="直線コネクタ 91">
            <a:extLst>
              <a:ext uri="{FF2B5EF4-FFF2-40B4-BE49-F238E27FC236}">
                <a16:creationId xmlns:a16="http://schemas.microsoft.com/office/drawing/2014/main" id="{944E25CA-F6D5-8553-ED85-3B47785C215F}"/>
              </a:ext>
            </a:extLst>
          </p:cNvPr>
          <p:cNvCxnSpPr>
            <a:cxnSpLocks/>
          </p:cNvCxnSpPr>
          <p:nvPr/>
        </p:nvCxnSpPr>
        <p:spPr>
          <a:xfrm>
            <a:off x="556293" y="3140968"/>
            <a:ext cx="8353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2">
            <a:extLst>
              <a:ext uri="{FF2B5EF4-FFF2-40B4-BE49-F238E27FC236}">
                <a16:creationId xmlns:a16="http://schemas.microsoft.com/office/drawing/2014/main" id="{AA9C3CD2-53E5-B648-A8D9-6D360E413714}"/>
              </a:ext>
            </a:extLst>
          </p:cNvPr>
          <p:cNvPicPr>
            <a:picLocks noChangeAspect="1"/>
          </p:cNvPicPr>
          <p:nvPr/>
        </p:nvPicPr>
        <p:blipFill>
          <a:blip r:embed="rId4"/>
          <a:srcRect l="42201" t="70155" r="40662" b="25404"/>
          <a:stretch>
            <a:fillRect/>
          </a:stretch>
        </p:blipFill>
        <p:spPr>
          <a:xfrm>
            <a:off x="7597951" y="3294462"/>
            <a:ext cx="1152128" cy="194305"/>
          </a:xfrm>
          <a:prstGeom prst="rect">
            <a:avLst/>
          </a:prstGeom>
        </p:spPr>
      </p:pic>
      <p:pic>
        <p:nvPicPr>
          <p:cNvPr id="21" name="Picture 2">
            <a:extLst>
              <a:ext uri="{FF2B5EF4-FFF2-40B4-BE49-F238E27FC236}">
                <a16:creationId xmlns:a16="http://schemas.microsoft.com/office/drawing/2014/main" id="{8FF3FC86-8BD1-49FD-E668-76BD3B2B211F}"/>
              </a:ext>
            </a:extLst>
          </p:cNvPr>
          <p:cNvPicPr>
            <a:picLocks noChangeAspect="1"/>
          </p:cNvPicPr>
          <p:nvPr/>
        </p:nvPicPr>
        <p:blipFill>
          <a:blip r:embed="rId4"/>
          <a:srcRect l="46742" t="39678" r="44992" b="48211"/>
          <a:stretch>
            <a:fillRect/>
          </a:stretch>
        </p:blipFill>
        <p:spPr>
          <a:xfrm>
            <a:off x="5220072" y="3638187"/>
            <a:ext cx="247346" cy="202152"/>
          </a:xfrm>
          <a:prstGeom prst="rect">
            <a:avLst/>
          </a:prstGeom>
        </p:spPr>
      </p:pic>
      <p:sp>
        <p:nvSpPr>
          <p:cNvPr id="22" name="線吹き出し 2 (枠付き) 21">
            <a:extLst>
              <a:ext uri="{FF2B5EF4-FFF2-40B4-BE49-F238E27FC236}">
                <a16:creationId xmlns:a16="http://schemas.microsoft.com/office/drawing/2014/main" id="{8B1223DE-0570-B2C8-954F-72F063D3AD6E}"/>
              </a:ext>
            </a:extLst>
          </p:cNvPr>
          <p:cNvSpPr/>
          <p:nvPr/>
        </p:nvSpPr>
        <p:spPr>
          <a:xfrm>
            <a:off x="7236296" y="3264703"/>
            <a:ext cx="1818396" cy="2590276"/>
          </a:xfrm>
          <a:prstGeom prst="borderCallout2">
            <a:avLst>
              <a:gd name="adj1" fmla="val 18072"/>
              <a:gd name="adj2" fmla="val -1626"/>
              <a:gd name="adj3" fmla="val 17276"/>
              <a:gd name="adj4" fmla="val -53677"/>
              <a:gd name="adj5" fmla="val 24370"/>
              <a:gd name="adj6" fmla="val -85772"/>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B5700B31-A562-2857-6AFC-ACB45D02F8D5}"/>
              </a:ext>
            </a:extLst>
          </p:cNvPr>
          <p:cNvSpPr txBox="1"/>
          <p:nvPr/>
        </p:nvSpPr>
        <p:spPr>
          <a:xfrm>
            <a:off x="7264816" y="3473495"/>
            <a:ext cx="1818397" cy="1015663"/>
          </a:xfrm>
          <a:prstGeom prst="rect">
            <a:avLst/>
          </a:prstGeom>
          <a:noFill/>
        </p:spPr>
        <p:txBody>
          <a:bodyPr wrap="square" rtlCol="0">
            <a:spAutoFit/>
          </a:bodyPr>
          <a:lstStyle/>
          <a:p>
            <a:pPr algn="ctr"/>
            <a:r>
              <a:rPr lang="ja-JP" altLang="ja-JP" sz="1000" b="1"/>
              <a:t>The Dynamic Trigger:</a:t>
            </a:r>
          </a:p>
          <a:p>
            <a:pPr algn="ctr"/>
            <a:r>
              <a:rPr lang="ja-JP" altLang="ja-JP" sz="1000"/>
              <a:t>Removing the old filter dislodges accumulated </a:t>
            </a:r>
            <a:r>
              <a:rPr lang="ja-JP" altLang="ja-JP" sz="1000">
                <a:highlight>
                  <a:srgbClr val="FFFF00"/>
                </a:highlight>
              </a:rPr>
              <a:t>ash into the room, </a:t>
            </a:r>
            <a:r>
              <a:rPr lang="ja-JP" altLang="ja-JP" sz="1000"/>
              <a:t>spiking indoor ash concentration and drastically </a:t>
            </a:r>
            <a:r>
              <a:rPr lang="ja-JP" altLang="ja-JP" sz="1000">
                <a:highlight>
                  <a:srgbClr val="FFFF00"/>
                </a:highlight>
              </a:rPr>
              <a:t>reducing visibility.</a:t>
            </a:r>
          </a:p>
        </p:txBody>
      </p:sp>
      <p:sp>
        <p:nvSpPr>
          <p:cNvPr id="27" name="テキスト ボックス 26">
            <a:extLst>
              <a:ext uri="{FF2B5EF4-FFF2-40B4-BE49-F238E27FC236}">
                <a16:creationId xmlns:a16="http://schemas.microsoft.com/office/drawing/2014/main" id="{080ED8E6-12D2-0DCC-8BEE-A57480C93F7B}"/>
              </a:ext>
            </a:extLst>
          </p:cNvPr>
          <p:cNvSpPr txBox="1"/>
          <p:nvPr/>
        </p:nvSpPr>
        <p:spPr>
          <a:xfrm>
            <a:off x="1009983" y="3665191"/>
            <a:ext cx="2563450" cy="553998"/>
          </a:xfrm>
          <a:prstGeom prst="rect">
            <a:avLst/>
          </a:prstGeom>
          <a:solidFill>
            <a:schemeClr val="bg1"/>
          </a:solidFill>
        </p:spPr>
        <p:txBody>
          <a:bodyPr wrap="square">
            <a:spAutoFit/>
          </a:bodyPr>
          <a:lstStyle/>
          <a:p>
            <a:r>
              <a:rPr lang="ja-JP" altLang="ja-JP" sz="1000" b="1"/>
              <a:t>Process:</a:t>
            </a:r>
            <a:br>
              <a:rPr lang="ja-JP" altLang="ja-JP" sz="1000"/>
            </a:br>
            <a:r>
              <a:rPr lang="ja-JP" altLang="ja-JP" sz="1000"/>
              <a:t>Open hatch/door → </a:t>
            </a:r>
            <a:r>
              <a:rPr lang="ja-JP" altLang="ja-JP" sz="1000">
                <a:highlight>
                  <a:srgbClr val="FFFF00"/>
                </a:highlight>
              </a:rPr>
              <a:t>insert isolation plate </a:t>
            </a:r>
            <a:r>
              <a:rPr lang="ja-JP" altLang="ja-JP" sz="1000"/>
              <a:t>→ loosen and secure fasteners</a:t>
            </a:r>
            <a:r>
              <a:rPr lang="en-US" altLang="ja-JP" sz="1000" dirty="0"/>
              <a:t> of </a:t>
            </a:r>
            <a:endParaRPr lang="ja-JP" altLang="en-US" sz="1000"/>
          </a:p>
        </p:txBody>
      </p:sp>
      <p:sp>
        <p:nvSpPr>
          <p:cNvPr id="28" name="テキスト ボックス 27">
            <a:extLst>
              <a:ext uri="{FF2B5EF4-FFF2-40B4-BE49-F238E27FC236}">
                <a16:creationId xmlns:a16="http://schemas.microsoft.com/office/drawing/2014/main" id="{9AA23B31-E825-2656-0241-6BC65491030B}"/>
              </a:ext>
            </a:extLst>
          </p:cNvPr>
          <p:cNvSpPr txBox="1"/>
          <p:nvPr/>
        </p:nvSpPr>
        <p:spPr>
          <a:xfrm>
            <a:off x="1009983" y="4298180"/>
            <a:ext cx="2481897" cy="707886"/>
          </a:xfrm>
          <a:prstGeom prst="rect">
            <a:avLst/>
          </a:prstGeom>
          <a:solidFill>
            <a:schemeClr val="bg1"/>
          </a:solidFill>
        </p:spPr>
        <p:txBody>
          <a:bodyPr wrap="square">
            <a:spAutoFit/>
          </a:bodyPr>
          <a:lstStyle/>
          <a:p>
            <a:r>
              <a:rPr lang="en" altLang="ja-JP" sz="1000" b="1" dirty="0"/>
              <a:t>Key Characteristics:</a:t>
            </a:r>
            <a:br>
              <a:rPr lang="ja-JP" altLang="ja-JP" sz="1000"/>
            </a:br>
            <a:r>
              <a:rPr lang="en" altLang="ja-JP" sz="1000" dirty="0"/>
              <a:t>The task is primarily guided by tactile cues; however, the insertion depth of the </a:t>
            </a:r>
            <a:r>
              <a:rPr lang="en" altLang="ja-JP" sz="1000" dirty="0">
                <a:highlight>
                  <a:srgbClr val="FFFF00"/>
                </a:highlight>
              </a:rPr>
              <a:t>isolation plate </a:t>
            </a:r>
            <a:r>
              <a:rPr lang="en" altLang="ja-JP" sz="1000" dirty="0"/>
              <a:t>must be visually verified.</a:t>
            </a:r>
            <a:endParaRPr lang="en-US" altLang="ja-JP" sz="1000" dirty="0">
              <a:highlight>
                <a:srgbClr val="FFFF00"/>
              </a:highlight>
            </a:endParaRPr>
          </a:p>
        </p:txBody>
      </p:sp>
      <p:sp>
        <p:nvSpPr>
          <p:cNvPr id="29" name="テキスト ボックス 28">
            <a:extLst>
              <a:ext uri="{FF2B5EF4-FFF2-40B4-BE49-F238E27FC236}">
                <a16:creationId xmlns:a16="http://schemas.microsoft.com/office/drawing/2014/main" id="{9C4814F0-C303-7825-D9D1-C48CB24B2D8D}"/>
              </a:ext>
            </a:extLst>
          </p:cNvPr>
          <p:cNvSpPr txBox="1"/>
          <p:nvPr/>
        </p:nvSpPr>
        <p:spPr>
          <a:xfrm>
            <a:off x="1009983" y="5076376"/>
            <a:ext cx="2563450" cy="553998"/>
          </a:xfrm>
          <a:prstGeom prst="rect">
            <a:avLst/>
          </a:prstGeom>
          <a:solidFill>
            <a:schemeClr val="bg1"/>
          </a:solidFill>
        </p:spPr>
        <p:txBody>
          <a:bodyPr wrap="square">
            <a:spAutoFit/>
          </a:bodyPr>
          <a:lstStyle/>
          <a:p>
            <a:r>
              <a:rPr lang="en" altLang="ja-JP" sz="1000" b="1" dirty="0"/>
              <a:t>Risk Consequences</a:t>
            </a:r>
            <a:r>
              <a:rPr lang="ja-JP" altLang="ja-JP" sz="1000" b="1"/>
              <a:t>:</a:t>
            </a:r>
            <a:br>
              <a:rPr lang="ja-JP" altLang="ja-JP" sz="1000"/>
            </a:br>
            <a:r>
              <a:rPr lang="en" altLang="ja-JP" sz="1000" dirty="0"/>
              <a:t>If isolation is not performed correctly, ash may enter downstream systems.</a:t>
            </a:r>
            <a:endParaRPr lang="en-US" altLang="ja-JP" sz="1000" dirty="0"/>
          </a:p>
        </p:txBody>
      </p:sp>
      <p:sp>
        <p:nvSpPr>
          <p:cNvPr id="30" name="テキスト ボックス 29">
            <a:extLst>
              <a:ext uri="{FF2B5EF4-FFF2-40B4-BE49-F238E27FC236}">
                <a16:creationId xmlns:a16="http://schemas.microsoft.com/office/drawing/2014/main" id="{C42929D2-48E7-13AC-2F20-934928664B87}"/>
              </a:ext>
            </a:extLst>
          </p:cNvPr>
          <p:cNvSpPr txBox="1"/>
          <p:nvPr/>
        </p:nvSpPr>
        <p:spPr>
          <a:xfrm>
            <a:off x="4240798" y="3860940"/>
            <a:ext cx="2563450" cy="400110"/>
          </a:xfrm>
          <a:prstGeom prst="rect">
            <a:avLst/>
          </a:prstGeom>
          <a:solidFill>
            <a:schemeClr val="bg1"/>
          </a:solidFill>
        </p:spPr>
        <p:txBody>
          <a:bodyPr wrap="square">
            <a:spAutoFit/>
          </a:bodyPr>
          <a:lstStyle/>
          <a:p>
            <a:r>
              <a:rPr lang="ja-JP" altLang="ja-JP" sz="1000">
                <a:solidFill>
                  <a:schemeClr val="bg1"/>
                </a:solidFill>
                <a:highlight>
                  <a:srgbClr val="D3134E"/>
                </a:highlight>
              </a:rPr>
              <a:t>Remove filter (ash release) </a:t>
            </a:r>
            <a:r>
              <a:rPr lang="ja-JP" altLang="ja-JP" sz="1000"/>
              <a:t>→ </a:t>
            </a:r>
            <a:r>
              <a:rPr lang="ja-JP" altLang="ja-JP" sz="1000">
                <a:highlight>
                  <a:srgbClr val="FFFF00"/>
                </a:highlight>
              </a:rPr>
              <a:t>install new filter</a:t>
            </a:r>
            <a:r>
              <a:rPr lang="ja-JP" altLang="ja-JP" sz="1000"/>
              <a:t> → verify flow indicator and tightness</a:t>
            </a:r>
            <a:endParaRPr lang="ja-JP" altLang="en-US" sz="1000"/>
          </a:p>
        </p:txBody>
      </p:sp>
      <p:sp>
        <p:nvSpPr>
          <p:cNvPr id="35" name="テキスト ボックス 34">
            <a:extLst>
              <a:ext uri="{FF2B5EF4-FFF2-40B4-BE49-F238E27FC236}">
                <a16:creationId xmlns:a16="http://schemas.microsoft.com/office/drawing/2014/main" id="{BBD54D24-F6DD-DA13-73B0-C1217F8DE71A}"/>
              </a:ext>
            </a:extLst>
          </p:cNvPr>
          <p:cNvSpPr txBox="1"/>
          <p:nvPr/>
        </p:nvSpPr>
        <p:spPr>
          <a:xfrm>
            <a:off x="4240798" y="5073974"/>
            <a:ext cx="2563450" cy="553998"/>
          </a:xfrm>
          <a:prstGeom prst="rect">
            <a:avLst/>
          </a:prstGeom>
          <a:solidFill>
            <a:schemeClr val="bg1"/>
          </a:solidFill>
        </p:spPr>
        <p:txBody>
          <a:bodyPr wrap="square">
            <a:spAutoFit/>
          </a:bodyPr>
          <a:lstStyle/>
          <a:p>
            <a:r>
              <a:rPr lang="en" altLang="ja-JP" sz="1000" b="1" dirty="0"/>
              <a:t>Risk Consequences</a:t>
            </a:r>
            <a:r>
              <a:rPr lang="ja-JP" altLang="ja-JP" sz="1000" b="1"/>
              <a:t>:</a:t>
            </a:r>
            <a:br>
              <a:rPr lang="ja-JP" altLang="ja-JP" sz="1000"/>
            </a:br>
            <a:r>
              <a:rPr lang="en" altLang="ja-JP" sz="1000" dirty="0"/>
              <a:t>Seal failure may cause ash leakage, resulting in complete task failure.</a:t>
            </a:r>
            <a:endParaRPr lang="en-US" altLang="ja-JP" sz="1000" dirty="0"/>
          </a:p>
        </p:txBody>
      </p:sp>
      <p:sp>
        <p:nvSpPr>
          <p:cNvPr id="38" name="コンテンツ プレースホルダー 4">
            <a:extLst>
              <a:ext uri="{FF2B5EF4-FFF2-40B4-BE49-F238E27FC236}">
                <a16:creationId xmlns:a16="http://schemas.microsoft.com/office/drawing/2014/main" id="{B9F7BAFD-2586-9FD3-1370-20E575A03CC8}"/>
              </a:ext>
            </a:extLst>
          </p:cNvPr>
          <p:cNvSpPr txBox="1">
            <a:spLocks/>
          </p:cNvSpPr>
          <p:nvPr/>
        </p:nvSpPr>
        <p:spPr bwMode="auto">
          <a:xfrm>
            <a:off x="234340" y="1199667"/>
            <a:ext cx="8675320" cy="1481644"/>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en-US" altLang="zh-TW" b="1" dirty="0"/>
              <a:t>Filter Replacement Process</a:t>
            </a:r>
          </a:p>
          <a:p>
            <a:pPr lvl="1"/>
            <a:r>
              <a:rPr lang="ja-JP" altLang="ja-JP" sz="1400"/>
              <a:t>The filter-replacement procedure is divided into </a:t>
            </a:r>
            <a:r>
              <a:rPr lang="ja-JP" altLang="ja-JP" sz="1400" b="1"/>
              <a:t>two tasks</a:t>
            </a:r>
            <a:r>
              <a:rPr lang="ja-JP" altLang="ja-JP" sz="1400"/>
              <a:t>. </a:t>
            </a:r>
          </a:p>
          <a:p>
            <a:pPr lvl="1"/>
            <a:r>
              <a:rPr lang="ja-JP" altLang="ja-JP" sz="1400" b="1"/>
              <a:t>Task2 alters the working environment</a:t>
            </a:r>
            <a:r>
              <a:rPr lang="ja-JP" altLang="ja-JP" sz="1400"/>
              <a:t> by dislodging ash from the filter and releasing it into the workspace. </a:t>
            </a:r>
            <a:endParaRPr lang="en-US" altLang="ja-JP" sz="1400" dirty="0"/>
          </a:p>
          <a:p>
            <a:pPr lvl="1"/>
            <a:r>
              <a:rPr lang="ja-JP" altLang="ja-JP" sz="1400"/>
              <a:t>In turn, </a:t>
            </a:r>
            <a:r>
              <a:rPr lang="ja-JP" altLang="ja-JP" sz="1400" b="1"/>
              <a:t>dynamic changes in the working environment affect human performance</a:t>
            </a:r>
            <a:r>
              <a:rPr lang="ja-JP" altLang="ja-JP" sz="1400"/>
              <a:t> during both Task1 and Task2.</a:t>
            </a:r>
            <a:endParaRPr lang="en-US" altLang="zh-TW" b="1" dirty="0"/>
          </a:p>
          <a:p>
            <a:endParaRPr lang="en-US" altLang="ja-JP" b="1" dirty="0"/>
          </a:p>
        </p:txBody>
      </p:sp>
      <p:sp>
        <p:nvSpPr>
          <p:cNvPr id="41" name="テキスト ボックス 40">
            <a:extLst>
              <a:ext uri="{FF2B5EF4-FFF2-40B4-BE49-F238E27FC236}">
                <a16:creationId xmlns:a16="http://schemas.microsoft.com/office/drawing/2014/main" id="{39530192-E5B0-1BD0-60CF-6709A7C2F0E8}"/>
              </a:ext>
            </a:extLst>
          </p:cNvPr>
          <p:cNvSpPr txBox="1"/>
          <p:nvPr/>
        </p:nvSpPr>
        <p:spPr>
          <a:xfrm>
            <a:off x="4207616" y="4314603"/>
            <a:ext cx="2629814" cy="707886"/>
          </a:xfrm>
          <a:prstGeom prst="rect">
            <a:avLst/>
          </a:prstGeom>
          <a:solidFill>
            <a:schemeClr val="bg1"/>
          </a:solidFill>
        </p:spPr>
        <p:txBody>
          <a:bodyPr wrap="square">
            <a:spAutoFit/>
          </a:bodyPr>
          <a:lstStyle/>
          <a:p>
            <a:endParaRPr lang="en-US" altLang="ja-JP" sz="1000" dirty="0">
              <a:highlight>
                <a:srgbClr val="FFFF00"/>
              </a:highlight>
            </a:endParaRPr>
          </a:p>
          <a:p>
            <a:endParaRPr lang="en-US" altLang="ja-JP" sz="1000" dirty="0">
              <a:highlight>
                <a:srgbClr val="FFFF00"/>
              </a:highlight>
            </a:endParaRPr>
          </a:p>
          <a:p>
            <a:endParaRPr lang="en-US" altLang="ja-JP" sz="1000" dirty="0">
              <a:highlight>
                <a:srgbClr val="FFFF00"/>
              </a:highlight>
            </a:endParaRPr>
          </a:p>
          <a:p>
            <a:endParaRPr lang="en-US" altLang="ja-JP" sz="1000" dirty="0">
              <a:highlight>
                <a:srgbClr val="FFFF00"/>
              </a:highlight>
            </a:endParaRPr>
          </a:p>
        </p:txBody>
      </p:sp>
      <p:sp>
        <p:nvSpPr>
          <p:cNvPr id="31" name="テキスト ボックス 30">
            <a:extLst>
              <a:ext uri="{FF2B5EF4-FFF2-40B4-BE49-F238E27FC236}">
                <a16:creationId xmlns:a16="http://schemas.microsoft.com/office/drawing/2014/main" id="{812385DC-73B3-528C-A753-0BC986A0478C}"/>
              </a:ext>
            </a:extLst>
          </p:cNvPr>
          <p:cNvSpPr txBox="1"/>
          <p:nvPr/>
        </p:nvSpPr>
        <p:spPr>
          <a:xfrm>
            <a:off x="4236136" y="4319789"/>
            <a:ext cx="2629814" cy="707886"/>
          </a:xfrm>
          <a:prstGeom prst="rect">
            <a:avLst/>
          </a:prstGeom>
          <a:noFill/>
        </p:spPr>
        <p:txBody>
          <a:bodyPr wrap="square">
            <a:spAutoFit/>
          </a:bodyPr>
          <a:lstStyle/>
          <a:p>
            <a:r>
              <a:rPr lang="en" altLang="ja-JP" sz="1000" b="1" dirty="0"/>
              <a:t>Key Characteristics:</a:t>
            </a:r>
            <a:br>
              <a:rPr lang="ja-JP" altLang="ja-JP" sz="1000"/>
            </a:br>
            <a:r>
              <a:rPr lang="en" altLang="ja-JP" sz="1000" dirty="0"/>
              <a:t>Heavily on visual inspection, including verification of </a:t>
            </a:r>
            <a:r>
              <a:rPr lang="en" altLang="ja-JP" sz="1000" dirty="0">
                <a:highlight>
                  <a:srgbClr val="FFFF00"/>
                </a:highlight>
              </a:rPr>
              <a:t>gasket curling or deformation</a:t>
            </a:r>
            <a:r>
              <a:rPr lang="en" altLang="ja-JP" sz="1000" dirty="0"/>
              <a:t>, and the presence of </a:t>
            </a:r>
            <a:r>
              <a:rPr lang="en" altLang="ja-JP" sz="1000" dirty="0">
                <a:highlight>
                  <a:srgbClr val="FFFF00"/>
                </a:highlight>
              </a:rPr>
              <a:t>sealing gaps.</a:t>
            </a:r>
            <a:endParaRPr lang="en-US" altLang="ja-JP" sz="1000" dirty="0">
              <a:highlight>
                <a:srgbClr val="FFFF00"/>
              </a:highlight>
            </a:endParaRPr>
          </a:p>
        </p:txBody>
      </p:sp>
      <p:pic>
        <p:nvPicPr>
          <p:cNvPr id="3" name="図 2">
            <a:extLst>
              <a:ext uri="{FF2B5EF4-FFF2-40B4-BE49-F238E27FC236}">
                <a16:creationId xmlns:a16="http://schemas.microsoft.com/office/drawing/2014/main" id="{9BD27F04-2258-D7A8-E3EA-320F1245AF21}"/>
              </a:ext>
            </a:extLst>
          </p:cNvPr>
          <p:cNvPicPr>
            <a:picLocks noChangeAspect="1"/>
          </p:cNvPicPr>
          <p:nvPr/>
        </p:nvPicPr>
        <p:blipFill>
          <a:blip r:embed="rId5"/>
          <a:srcRect b="8696"/>
          <a:stretch>
            <a:fillRect/>
          </a:stretch>
        </p:blipFill>
        <p:spPr>
          <a:xfrm>
            <a:off x="7470267" y="4630900"/>
            <a:ext cx="1327500" cy="1039893"/>
          </a:xfrm>
          <a:prstGeom prst="rect">
            <a:avLst/>
          </a:prstGeom>
        </p:spPr>
      </p:pic>
    </p:spTree>
    <p:extLst>
      <p:ext uri="{BB962C8B-B14F-4D97-AF65-F5344CB8AC3E}">
        <p14:creationId xmlns:p14="http://schemas.microsoft.com/office/powerpoint/2010/main" val="27372722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9D318-0629-54E4-CE7D-AB68B6FACE8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AF40505-3282-C3D5-3357-136DD4308E3E}"/>
              </a:ext>
            </a:extLst>
          </p:cNvPr>
          <p:cNvSpPr>
            <a:spLocks noGrp="1"/>
          </p:cNvSpPr>
          <p:nvPr>
            <p:ph type="title"/>
          </p:nvPr>
        </p:nvSpPr>
        <p:spPr>
          <a:xfrm>
            <a:off x="374496" y="332656"/>
            <a:ext cx="8769504" cy="779116"/>
          </a:xfrm>
        </p:spPr>
        <p:txBody>
          <a:bodyPr/>
          <a:lstStyle/>
          <a:p>
            <a:pPr algn="l"/>
            <a:r>
              <a:rPr lang="en-US" altLang="ja-JP" dirty="0"/>
              <a:t>Test Scenario </a:t>
            </a:r>
            <a:r>
              <a:rPr lang="en-US" altLang="zh-TW" sz="2000" dirty="0">
                <a:cs typeface="Calibri" panose="020F0502020204030204" pitchFamily="34" charset="0"/>
              </a:rPr>
              <a:t>—</a:t>
            </a:r>
            <a:r>
              <a:rPr lang="en-US" altLang="ja-JP" sz="2000" dirty="0"/>
              <a:t> </a:t>
            </a:r>
            <a:r>
              <a:rPr lang="en" altLang="ja-JP" sz="2000" dirty="0"/>
              <a:t>Anticipated Simulation Traces</a:t>
            </a:r>
            <a:r>
              <a:rPr lang="en-US" altLang="ja-JP" sz="2000" dirty="0"/>
              <a:t> </a:t>
            </a:r>
            <a:r>
              <a:rPr lang="en-US" altLang="zh-TW" sz="2000" dirty="0">
                <a:cs typeface="Calibri" panose="020F0502020204030204" pitchFamily="34" charset="0"/>
              </a:rPr>
              <a:t>—</a:t>
            </a:r>
            <a:endParaRPr kumimoji="1" lang="ja-JP" altLang="en-US" sz="2000" dirty="0"/>
          </a:p>
        </p:txBody>
      </p:sp>
      <p:sp>
        <p:nvSpPr>
          <p:cNvPr id="38" name="コンテンツ プレースホルダー 4">
            <a:extLst>
              <a:ext uri="{FF2B5EF4-FFF2-40B4-BE49-F238E27FC236}">
                <a16:creationId xmlns:a16="http://schemas.microsoft.com/office/drawing/2014/main" id="{15657E39-5615-3C84-CD59-222809B62D6E}"/>
              </a:ext>
            </a:extLst>
          </p:cNvPr>
          <p:cNvSpPr txBox="1">
            <a:spLocks/>
          </p:cNvSpPr>
          <p:nvPr/>
        </p:nvSpPr>
        <p:spPr bwMode="auto">
          <a:xfrm>
            <a:off x="234339" y="1148152"/>
            <a:ext cx="8730587" cy="1632776"/>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ja-JP" altLang="ja-JP" b="1"/>
              <a:t>Holistic Output:</a:t>
            </a:r>
            <a:r>
              <a:rPr lang="ja-JP" altLang="ja-JP"/>
              <a:t> Executing the Co-CMMC framework generates </a:t>
            </a:r>
            <a:r>
              <a:rPr lang="en-US" altLang="ja-JP" dirty="0"/>
              <a:t>h</a:t>
            </a:r>
            <a:r>
              <a:rPr lang="ja-JP" altLang="ja-JP"/>
              <a:t>olistic stochastic histories.</a:t>
            </a:r>
            <a:endParaRPr lang="en-US" altLang="ja-JP" dirty="0"/>
          </a:p>
          <a:p>
            <a:r>
              <a:rPr lang="en-US" altLang="ja-JP" b="1" dirty="0"/>
              <a:t>Continuous Reaction: </a:t>
            </a:r>
            <a:r>
              <a:rPr lang="ja-JP" altLang="ja-JP"/>
              <a:t>Because the framework samples at every timestep (unlike Ordinary MC), it reacts to the </a:t>
            </a:r>
            <a:r>
              <a:rPr lang="en-US" altLang="ja-JP" dirty="0"/>
              <a:t>environment change</a:t>
            </a:r>
            <a:r>
              <a:rPr lang="ja-JP" altLang="ja-JP"/>
              <a:t> in real-time.</a:t>
            </a:r>
            <a:endParaRPr lang="en-US" altLang="ja-JP" dirty="0"/>
          </a:p>
          <a:p>
            <a:r>
              <a:rPr lang="en" altLang="ja-JP" b="1" dirty="0"/>
              <a:t>Modeling Elements Requiring </a:t>
            </a:r>
            <a:r>
              <a:rPr lang="en" altLang="ja-JP" b="1" dirty="0">
                <a:highlight>
                  <a:srgbClr val="FFFF00"/>
                </a:highlight>
              </a:rPr>
              <a:t>Scenario-Specific Adaptation</a:t>
            </a:r>
            <a:r>
              <a:rPr lang="en" altLang="ja-JP" b="1" dirty="0"/>
              <a:t>: </a:t>
            </a:r>
            <a:br>
              <a:rPr lang="en" altLang="ja-JP" b="1" dirty="0"/>
            </a:br>
            <a:r>
              <a:rPr lang="en-US" altLang="ja-JP" dirty="0"/>
              <a:t>Markov chain structure (for Module2); Dynamic model of the target working environment (for Module4);  Environmental-variable dependencies of </a:t>
            </a:r>
            <a:r>
              <a:rPr lang="el-GR" altLang="ja-JP" i="1" dirty="0"/>
              <a:t>μ</a:t>
            </a:r>
            <a:r>
              <a:rPr lang="el-GR" altLang="ja-JP" dirty="0"/>
              <a:t> </a:t>
            </a:r>
            <a:r>
              <a:rPr lang="en-US" altLang="ja-JP" dirty="0"/>
              <a:t>and HEP (for Module1)</a:t>
            </a:r>
          </a:p>
        </p:txBody>
      </p:sp>
      <p:pic>
        <p:nvPicPr>
          <p:cNvPr id="20" name="Picture 2">
            <a:extLst>
              <a:ext uri="{FF2B5EF4-FFF2-40B4-BE49-F238E27FC236}">
                <a16:creationId xmlns:a16="http://schemas.microsoft.com/office/drawing/2014/main" id="{87966CFA-0816-A2BE-5A3D-7D60275B6D8F}"/>
              </a:ext>
            </a:extLst>
          </p:cNvPr>
          <p:cNvPicPr>
            <a:picLocks noChangeAspect="1"/>
          </p:cNvPicPr>
          <p:nvPr/>
        </p:nvPicPr>
        <p:blipFill>
          <a:blip r:embed="rId3"/>
          <a:srcRect l="5428" t="25558" r="6433" b="29897"/>
          <a:stretch>
            <a:fillRect/>
          </a:stretch>
        </p:blipFill>
        <p:spPr>
          <a:xfrm>
            <a:off x="3416021" y="3155020"/>
            <a:ext cx="2763575" cy="779115"/>
          </a:xfrm>
          <a:prstGeom prst="rect">
            <a:avLst/>
          </a:prstGeom>
          <a:ln>
            <a:noFill/>
          </a:ln>
        </p:spPr>
      </p:pic>
      <p:pic>
        <p:nvPicPr>
          <p:cNvPr id="36" name="図 35">
            <a:extLst>
              <a:ext uri="{FF2B5EF4-FFF2-40B4-BE49-F238E27FC236}">
                <a16:creationId xmlns:a16="http://schemas.microsoft.com/office/drawing/2014/main" id="{5171C7C1-CFA6-8A21-69EF-FEF8561A4132}"/>
              </a:ext>
            </a:extLst>
          </p:cNvPr>
          <p:cNvPicPr>
            <a:picLocks noChangeAspect="1"/>
          </p:cNvPicPr>
          <p:nvPr/>
        </p:nvPicPr>
        <p:blipFill>
          <a:blip r:embed="rId4"/>
          <a:stretch>
            <a:fillRect/>
          </a:stretch>
        </p:blipFill>
        <p:spPr>
          <a:xfrm>
            <a:off x="2411760" y="4124148"/>
            <a:ext cx="6620306" cy="2372236"/>
          </a:xfrm>
          <a:prstGeom prst="rect">
            <a:avLst/>
          </a:prstGeom>
        </p:spPr>
      </p:pic>
      <p:pic>
        <p:nvPicPr>
          <p:cNvPr id="26" name="図 25">
            <a:extLst>
              <a:ext uri="{FF2B5EF4-FFF2-40B4-BE49-F238E27FC236}">
                <a16:creationId xmlns:a16="http://schemas.microsoft.com/office/drawing/2014/main" id="{3E011D6A-73C4-2635-CCA8-949B1F5FAC59}"/>
              </a:ext>
            </a:extLst>
          </p:cNvPr>
          <p:cNvPicPr>
            <a:picLocks noChangeAspect="1"/>
          </p:cNvPicPr>
          <p:nvPr/>
        </p:nvPicPr>
        <p:blipFill>
          <a:blip r:embed="rId5"/>
          <a:srcRect b="8696"/>
          <a:stretch>
            <a:fillRect/>
          </a:stretch>
        </p:blipFill>
        <p:spPr>
          <a:xfrm>
            <a:off x="6893077" y="3053024"/>
            <a:ext cx="1327500" cy="1039893"/>
          </a:xfrm>
          <a:prstGeom prst="rect">
            <a:avLst/>
          </a:prstGeom>
        </p:spPr>
      </p:pic>
      <p:sp>
        <p:nvSpPr>
          <p:cNvPr id="39" name="左大かっこ 38">
            <a:extLst>
              <a:ext uri="{FF2B5EF4-FFF2-40B4-BE49-F238E27FC236}">
                <a16:creationId xmlns:a16="http://schemas.microsoft.com/office/drawing/2014/main" id="{BA59ED2F-5FC6-F0FD-265C-D3B337D93C6B}"/>
              </a:ext>
            </a:extLst>
          </p:cNvPr>
          <p:cNvSpPr/>
          <p:nvPr/>
        </p:nvSpPr>
        <p:spPr>
          <a:xfrm>
            <a:off x="2212516" y="4472143"/>
            <a:ext cx="288032" cy="843678"/>
          </a:xfrm>
          <a:prstGeom prst="leftBracket">
            <a:avLst/>
          </a:pr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0" name="左大かっこ 39">
            <a:extLst>
              <a:ext uri="{FF2B5EF4-FFF2-40B4-BE49-F238E27FC236}">
                <a16:creationId xmlns:a16="http://schemas.microsoft.com/office/drawing/2014/main" id="{5A23FA1E-1825-C551-5EDA-72607690A714}"/>
              </a:ext>
            </a:extLst>
          </p:cNvPr>
          <p:cNvSpPr/>
          <p:nvPr/>
        </p:nvSpPr>
        <p:spPr>
          <a:xfrm>
            <a:off x="2185107" y="5408880"/>
            <a:ext cx="288032" cy="843678"/>
          </a:xfrm>
          <a:prstGeom prst="leftBracket">
            <a:avLst/>
          </a:pr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線吹き出し 2 (枠付き) 31">
            <a:extLst>
              <a:ext uri="{FF2B5EF4-FFF2-40B4-BE49-F238E27FC236}">
                <a16:creationId xmlns:a16="http://schemas.microsoft.com/office/drawing/2014/main" id="{092EE588-7C5A-AD06-7506-DB7DBD488ABA}"/>
              </a:ext>
            </a:extLst>
          </p:cNvPr>
          <p:cNvSpPr/>
          <p:nvPr/>
        </p:nvSpPr>
        <p:spPr>
          <a:xfrm>
            <a:off x="6807445" y="2989493"/>
            <a:ext cx="1498764" cy="1087580"/>
          </a:xfrm>
          <a:prstGeom prst="borderCallout2">
            <a:avLst>
              <a:gd name="adj1" fmla="val 98664"/>
              <a:gd name="adj2" fmla="val 45888"/>
              <a:gd name="adj3" fmla="val 127776"/>
              <a:gd name="adj4" fmla="val 34686"/>
              <a:gd name="adj5" fmla="val 158575"/>
              <a:gd name="adj6" fmla="val 21848"/>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 name="グループ化 11">
            <a:extLst>
              <a:ext uri="{FF2B5EF4-FFF2-40B4-BE49-F238E27FC236}">
                <a16:creationId xmlns:a16="http://schemas.microsoft.com/office/drawing/2014/main" id="{ABCE1E43-07FF-2B5F-1C1B-27836424395B}"/>
              </a:ext>
            </a:extLst>
          </p:cNvPr>
          <p:cNvGrpSpPr/>
          <p:nvPr/>
        </p:nvGrpSpPr>
        <p:grpSpPr>
          <a:xfrm>
            <a:off x="113153" y="2907205"/>
            <a:ext cx="2010575" cy="1471879"/>
            <a:chOff x="59213" y="3930465"/>
            <a:chExt cx="3225652" cy="1927853"/>
          </a:xfrm>
        </p:grpSpPr>
        <p:pic>
          <p:nvPicPr>
            <p:cNvPr id="14" name="Picture 2">
              <a:extLst>
                <a:ext uri="{FF2B5EF4-FFF2-40B4-BE49-F238E27FC236}">
                  <a16:creationId xmlns:a16="http://schemas.microsoft.com/office/drawing/2014/main" id="{8E771D31-2EA5-BC02-3F02-7D05CBA069CD}"/>
                </a:ext>
              </a:extLst>
            </p:cNvPr>
            <p:cNvPicPr>
              <a:picLocks noChangeAspect="1"/>
            </p:cNvPicPr>
            <p:nvPr/>
          </p:nvPicPr>
          <p:blipFill>
            <a:blip r:embed="rId6"/>
            <a:srcRect l="14738" t="18702" r="5857"/>
            <a:stretch>
              <a:fillRect/>
            </a:stretch>
          </p:blipFill>
          <p:spPr>
            <a:xfrm>
              <a:off x="67225" y="4020697"/>
              <a:ext cx="3217640" cy="1837621"/>
            </a:xfrm>
            <a:prstGeom prst="rect">
              <a:avLst/>
            </a:prstGeom>
          </p:spPr>
        </p:pic>
        <p:sp>
          <p:nvSpPr>
            <p:cNvPr id="15" name="正方形/長方形 14">
              <a:extLst>
                <a:ext uri="{FF2B5EF4-FFF2-40B4-BE49-F238E27FC236}">
                  <a16:creationId xmlns:a16="http://schemas.microsoft.com/office/drawing/2014/main" id="{4D7C387D-4CE9-B9CD-82EC-63C2214A11A9}"/>
                </a:ext>
              </a:extLst>
            </p:cNvPr>
            <p:cNvSpPr/>
            <p:nvPr/>
          </p:nvSpPr>
          <p:spPr>
            <a:xfrm>
              <a:off x="67224" y="4020694"/>
              <a:ext cx="1288113" cy="3158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8D7A50BF-7CD2-4E6F-184A-A4AA57FD4874}"/>
                </a:ext>
              </a:extLst>
            </p:cNvPr>
            <p:cNvSpPr/>
            <p:nvPr/>
          </p:nvSpPr>
          <p:spPr>
            <a:xfrm>
              <a:off x="59213" y="3930465"/>
              <a:ext cx="207994" cy="5040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線吹き出し 2 (枠付き) 32">
            <a:extLst>
              <a:ext uri="{FF2B5EF4-FFF2-40B4-BE49-F238E27FC236}">
                <a16:creationId xmlns:a16="http://schemas.microsoft.com/office/drawing/2014/main" id="{CEAC408F-E822-0719-485D-FA5C384EB5CC}"/>
              </a:ext>
            </a:extLst>
          </p:cNvPr>
          <p:cNvSpPr/>
          <p:nvPr/>
        </p:nvSpPr>
        <p:spPr>
          <a:xfrm>
            <a:off x="107943" y="2943586"/>
            <a:ext cx="2005581" cy="1409298"/>
          </a:xfrm>
          <a:prstGeom prst="borderCallout2">
            <a:avLst>
              <a:gd name="adj1" fmla="val 101149"/>
              <a:gd name="adj2" fmla="val 50683"/>
              <a:gd name="adj3" fmla="val 202985"/>
              <a:gd name="adj4" fmla="val 50516"/>
              <a:gd name="adj5" fmla="val 202886"/>
              <a:gd name="adj6" fmla="val 100844"/>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線吹き出し 2 (枠付き) 33">
            <a:extLst>
              <a:ext uri="{FF2B5EF4-FFF2-40B4-BE49-F238E27FC236}">
                <a16:creationId xmlns:a16="http://schemas.microsoft.com/office/drawing/2014/main" id="{72C6B462-E2BC-A628-029B-EF2AAC746713}"/>
              </a:ext>
            </a:extLst>
          </p:cNvPr>
          <p:cNvSpPr/>
          <p:nvPr/>
        </p:nvSpPr>
        <p:spPr>
          <a:xfrm>
            <a:off x="3284435" y="3000788"/>
            <a:ext cx="2949625" cy="1087580"/>
          </a:xfrm>
          <a:prstGeom prst="borderCallout2">
            <a:avLst>
              <a:gd name="adj1" fmla="val 27593"/>
              <a:gd name="adj2" fmla="val 307"/>
              <a:gd name="adj3" fmla="val 71437"/>
              <a:gd name="adj4" fmla="val -12128"/>
              <a:gd name="adj5" fmla="val 132769"/>
              <a:gd name="adj6" fmla="val -30977"/>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F52D284F-BA05-EBF8-D2B8-AF3BB4F0EE3E}"/>
              </a:ext>
            </a:extLst>
          </p:cNvPr>
          <p:cNvSpPr txBox="1"/>
          <p:nvPr/>
        </p:nvSpPr>
        <p:spPr>
          <a:xfrm>
            <a:off x="2277377" y="3812278"/>
            <a:ext cx="1327500" cy="323165"/>
          </a:xfrm>
          <a:prstGeom prst="rect">
            <a:avLst/>
          </a:prstGeom>
          <a:noFill/>
        </p:spPr>
        <p:txBody>
          <a:bodyPr wrap="square">
            <a:spAutoFit/>
          </a:bodyPr>
          <a:lstStyle/>
          <a:p>
            <a:r>
              <a:rPr lang="en" altLang="ja-JP" sz="1500" dirty="0">
                <a:solidFill>
                  <a:srgbClr val="C00000"/>
                </a:solidFill>
              </a:rPr>
              <a:t>(Module2)</a:t>
            </a:r>
            <a:endParaRPr lang="ja-JP" altLang="en-US" sz="1500">
              <a:solidFill>
                <a:srgbClr val="C00000"/>
              </a:solidFill>
            </a:endParaRPr>
          </a:p>
        </p:txBody>
      </p:sp>
      <p:sp>
        <p:nvSpPr>
          <p:cNvPr id="44" name="テキスト ボックス 43">
            <a:extLst>
              <a:ext uri="{FF2B5EF4-FFF2-40B4-BE49-F238E27FC236}">
                <a16:creationId xmlns:a16="http://schemas.microsoft.com/office/drawing/2014/main" id="{FCDF2E81-5C88-C1CE-E7FB-9E20C68EAB04}"/>
              </a:ext>
            </a:extLst>
          </p:cNvPr>
          <p:cNvSpPr txBox="1"/>
          <p:nvPr/>
        </p:nvSpPr>
        <p:spPr>
          <a:xfrm>
            <a:off x="7290522" y="4194418"/>
            <a:ext cx="1097902" cy="323165"/>
          </a:xfrm>
          <a:prstGeom prst="rect">
            <a:avLst/>
          </a:prstGeom>
          <a:noFill/>
        </p:spPr>
        <p:txBody>
          <a:bodyPr wrap="square">
            <a:spAutoFit/>
          </a:bodyPr>
          <a:lstStyle/>
          <a:p>
            <a:r>
              <a:rPr lang="en" altLang="ja-JP" sz="1500" dirty="0">
                <a:solidFill>
                  <a:srgbClr val="C00000"/>
                </a:solidFill>
              </a:rPr>
              <a:t>(Module4)</a:t>
            </a:r>
            <a:endParaRPr lang="ja-JP" altLang="en-US" sz="1500">
              <a:solidFill>
                <a:srgbClr val="C00000"/>
              </a:solidFill>
            </a:endParaRPr>
          </a:p>
        </p:txBody>
      </p:sp>
      <p:sp>
        <p:nvSpPr>
          <p:cNvPr id="48" name="テキスト ボックス 47">
            <a:extLst>
              <a:ext uri="{FF2B5EF4-FFF2-40B4-BE49-F238E27FC236}">
                <a16:creationId xmlns:a16="http://schemas.microsoft.com/office/drawing/2014/main" id="{D35A4D73-0B91-16B0-DCFE-8A6B869FA0D7}"/>
              </a:ext>
            </a:extLst>
          </p:cNvPr>
          <p:cNvSpPr txBox="1"/>
          <p:nvPr/>
        </p:nvSpPr>
        <p:spPr>
          <a:xfrm>
            <a:off x="446983" y="5830719"/>
            <a:ext cx="1327500" cy="323165"/>
          </a:xfrm>
          <a:prstGeom prst="rect">
            <a:avLst/>
          </a:prstGeom>
          <a:noFill/>
        </p:spPr>
        <p:txBody>
          <a:bodyPr wrap="square">
            <a:spAutoFit/>
          </a:bodyPr>
          <a:lstStyle/>
          <a:p>
            <a:r>
              <a:rPr lang="en" altLang="ja-JP" sz="1500" dirty="0">
                <a:solidFill>
                  <a:srgbClr val="C00000"/>
                </a:solidFill>
              </a:rPr>
              <a:t>(Module1)</a:t>
            </a:r>
            <a:endParaRPr lang="ja-JP" altLang="en-US" sz="1500">
              <a:solidFill>
                <a:srgbClr val="C00000"/>
              </a:solidFill>
            </a:endParaRPr>
          </a:p>
        </p:txBody>
      </p:sp>
    </p:spTree>
    <p:extLst>
      <p:ext uri="{BB962C8B-B14F-4D97-AF65-F5344CB8AC3E}">
        <p14:creationId xmlns:p14="http://schemas.microsoft.com/office/powerpoint/2010/main" val="2763495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9CE5F-1370-3D8C-C756-1F11A34AECE8}"/>
            </a:ext>
          </a:extLst>
        </p:cNvPr>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0058ED38-CA09-5D21-317F-4AF477C3240C}"/>
              </a:ext>
            </a:extLst>
          </p:cNvPr>
          <p:cNvSpPr>
            <a:spLocks noGrp="1"/>
          </p:cNvSpPr>
          <p:nvPr>
            <p:ph type="body" sz="quarter" idx="14"/>
          </p:nvPr>
        </p:nvSpPr>
        <p:spPr>
          <a:xfrm>
            <a:off x="374499" y="1340769"/>
            <a:ext cx="8395015" cy="4824536"/>
          </a:xfrm>
        </p:spPr>
        <p:txBody>
          <a:bodyPr/>
          <a:lstStyle/>
          <a:p>
            <a:r>
              <a:rPr lang="en-US" altLang="ja-JP" sz="2000" dirty="0">
                <a:solidFill>
                  <a:schemeClr val="bg1">
                    <a:lumMod val="50000"/>
                  </a:schemeClr>
                </a:solidFill>
              </a:rPr>
              <a:t>Introduction</a:t>
            </a:r>
          </a:p>
          <a:p>
            <a:endParaRPr lang="en-US" altLang="ja-JP" sz="2000" dirty="0"/>
          </a:p>
          <a:p>
            <a:r>
              <a:rPr lang="en-US" altLang="ja-JP" sz="2000" dirty="0">
                <a:solidFill>
                  <a:schemeClr val="bg1">
                    <a:lumMod val="50000"/>
                  </a:schemeClr>
                </a:solidFill>
              </a:rPr>
              <a:t>Methodology</a:t>
            </a:r>
          </a:p>
          <a:p>
            <a:endParaRPr lang="en-US" altLang="ja-JP" sz="2000" dirty="0">
              <a:solidFill>
                <a:schemeClr val="bg1">
                  <a:lumMod val="50000"/>
                </a:schemeClr>
              </a:solidFill>
            </a:endParaRPr>
          </a:p>
          <a:p>
            <a:r>
              <a:rPr lang="en-US" altLang="ja-JP" sz="2000" dirty="0">
                <a:solidFill>
                  <a:schemeClr val="bg1">
                    <a:lumMod val="50000"/>
                  </a:schemeClr>
                </a:solidFill>
              </a:rPr>
              <a:t>Test Scenario</a:t>
            </a:r>
          </a:p>
          <a:p>
            <a:endParaRPr lang="en-US" altLang="ja-JP" sz="2000" dirty="0">
              <a:solidFill>
                <a:schemeClr val="bg1">
                  <a:lumMod val="50000"/>
                </a:schemeClr>
              </a:solidFill>
            </a:endParaRPr>
          </a:p>
          <a:p>
            <a:r>
              <a:rPr lang="en-US" altLang="ja-JP" sz="2000" b="1" dirty="0">
                <a:solidFill>
                  <a:srgbClr val="C00000"/>
                </a:solidFill>
              </a:rPr>
              <a:t>Scenario-Specific Adaptation</a:t>
            </a:r>
          </a:p>
          <a:p>
            <a:pPr marL="0" indent="0">
              <a:buNone/>
            </a:pPr>
            <a:endParaRPr lang="en-US" altLang="ja-JP" sz="2000" dirty="0">
              <a:solidFill>
                <a:schemeClr val="bg1">
                  <a:lumMod val="50000"/>
                </a:schemeClr>
              </a:solidFill>
            </a:endParaRPr>
          </a:p>
          <a:p>
            <a:r>
              <a:rPr lang="en-US" altLang="ja-JP" sz="2000" dirty="0">
                <a:solidFill>
                  <a:schemeClr val="bg1">
                    <a:lumMod val="50000"/>
                  </a:schemeClr>
                </a:solidFill>
              </a:rPr>
              <a:t>Summary</a:t>
            </a:r>
          </a:p>
          <a:p>
            <a:endParaRPr lang="en-US" altLang="ja-JP" sz="2000" dirty="0"/>
          </a:p>
          <a:p>
            <a:endParaRPr lang="en-US" altLang="ja-JP" sz="2000" dirty="0"/>
          </a:p>
          <a:p>
            <a:pPr lvl="1"/>
            <a:endParaRPr lang="ja-JP" altLang="en-US" sz="2000" dirty="0"/>
          </a:p>
        </p:txBody>
      </p:sp>
    </p:spTree>
    <p:extLst>
      <p:ext uri="{BB962C8B-B14F-4D97-AF65-F5344CB8AC3E}">
        <p14:creationId xmlns:p14="http://schemas.microsoft.com/office/powerpoint/2010/main" val="4084970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71249-BC59-DFB2-376D-48708849F46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75B11AB-0D39-E9BE-78E5-D85EE01A1014}"/>
              </a:ext>
            </a:extLst>
          </p:cNvPr>
          <p:cNvSpPr>
            <a:spLocks noGrp="1"/>
          </p:cNvSpPr>
          <p:nvPr>
            <p:ph type="title"/>
          </p:nvPr>
        </p:nvSpPr>
        <p:spPr>
          <a:xfrm>
            <a:off x="374496" y="332656"/>
            <a:ext cx="8769504" cy="779116"/>
          </a:xfrm>
        </p:spPr>
        <p:txBody>
          <a:bodyPr/>
          <a:lstStyle/>
          <a:p>
            <a:pPr algn="l"/>
            <a:r>
              <a:rPr lang="en-US" altLang="ja-JP" dirty="0"/>
              <a:t>Scenario-Specific Adaptation </a:t>
            </a:r>
            <a:r>
              <a:rPr lang="en-US" altLang="zh-TW" sz="2000" dirty="0">
                <a:cs typeface="Calibri" panose="020F0502020204030204" pitchFamily="34" charset="0"/>
              </a:rPr>
              <a:t>—</a:t>
            </a:r>
            <a:r>
              <a:rPr lang="en-US" altLang="ja-JP" sz="2000" dirty="0"/>
              <a:t> Markov Chain Structure </a:t>
            </a:r>
            <a:r>
              <a:rPr lang="en-US" altLang="zh-TW" sz="2000" dirty="0">
                <a:cs typeface="Calibri" panose="020F0502020204030204" pitchFamily="34" charset="0"/>
              </a:rPr>
              <a:t>—</a:t>
            </a:r>
            <a:endParaRPr kumimoji="1" lang="ja-JP" altLang="en-US" sz="2000" dirty="0"/>
          </a:p>
        </p:txBody>
      </p:sp>
      <p:sp>
        <p:nvSpPr>
          <p:cNvPr id="91" name="テキスト プレースホルダー 5">
            <a:extLst>
              <a:ext uri="{FF2B5EF4-FFF2-40B4-BE49-F238E27FC236}">
                <a16:creationId xmlns:a16="http://schemas.microsoft.com/office/drawing/2014/main" id="{F06EFFAB-EA9A-8109-BC55-CBE36B95C259}"/>
              </a:ext>
            </a:extLst>
          </p:cNvPr>
          <p:cNvSpPr txBox="1">
            <a:spLocks/>
          </p:cNvSpPr>
          <p:nvPr/>
        </p:nvSpPr>
        <p:spPr>
          <a:xfrm>
            <a:off x="-46348" y="2420888"/>
            <a:ext cx="6696744"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Markov Chain Structure (Using Joint Markov State)</a:t>
            </a:r>
            <a:r>
              <a:rPr lang="zh-TW" altLang="en-US" b="1" dirty="0">
                <a:solidFill>
                  <a:schemeClr val="tx2"/>
                </a:solidFill>
              </a:rPr>
              <a:t> </a:t>
            </a:r>
            <a:endParaRPr lang="en-US" altLang="ja-JP" b="1" dirty="0">
              <a:solidFill>
                <a:schemeClr val="tx2"/>
              </a:solidFill>
            </a:endParaRPr>
          </a:p>
        </p:txBody>
      </p:sp>
      <p:cxnSp>
        <p:nvCxnSpPr>
          <p:cNvPr id="92" name="直線コネクタ 91">
            <a:extLst>
              <a:ext uri="{FF2B5EF4-FFF2-40B4-BE49-F238E27FC236}">
                <a16:creationId xmlns:a16="http://schemas.microsoft.com/office/drawing/2014/main" id="{1DA9EC1D-56DE-5CBB-5406-98F9F3E499FA}"/>
              </a:ext>
            </a:extLst>
          </p:cNvPr>
          <p:cNvCxnSpPr>
            <a:cxnSpLocks/>
          </p:cNvCxnSpPr>
          <p:nvPr/>
        </p:nvCxnSpPr>
        <p:spPr>
          <a:xfrm>
            <a:off x="457269" y="2780928"/>
            <a:ext cx="8353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8" name="コンテンツ プレースホルダー 4">
                <a:extLst>
                  <a:ext uri="{FF2B5EF4-FFF2-40B4-BE49-F238E27FC236}">
                    <a16:creationId xmlns:a16="http://schemas.microsoft.com/office/drawing/2014/main" id="{A651A7B3-7E01-FE61-A8D7-D2608F700EC8}"/>
                  </a:ext>
                </a:extLst>
              </p:cNvPr>
              <p:cNvSpPr txBox="1">
                <a:spLocks/>
              </p:cNvSpPr>
              <p:nvPr/>
            </p:nvSpPr>
            <p:spPr bwMode="auto">
              <a:xfrm>
                <a:off x="234339" y="1148151"/>
                <a:ext cx="8730587" cy="1211213"/>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en-US" altLang="ja-JP" b="1" dirty="0"/>
                  <a:t>Key Points:</a:t>
                </a:r>
              </a:p>
              <a:p>
                <a:pPr lvl="1"/>
                <a:r>
                  <a:rPr lang="en-US" altLang="ja-JP" dirty="0"/>
                  <a:t>For Module 2</a:t>
                </a:r>
              </a:p>
              <a:p>
                <a:pPr lvl="1"/>
                <a:r>
                  <a:rPr lang="ja-JP" altLang="ja-JP"/>
                  <a:t>Whether </a:t>
                </a:r>
                <a:r>
                  <a:rPr lang="en-US" altLang="ja-JP" b="1" dirty="0"/>
                  <a:t>task </a:t>
                </a:r>
                <a:r>
                  <a:rPr lang="ja-JP" altLang="ja-JP" b="1"/>
                  <a:t>failure</a:t>
                </a:r>
                <a:r>
                  <a:rPr lang="ja-JP" altLang="ja-JP"/>
                  <a:t> occurs in </a:t>
                </a:r>
                <a:r>
                  <a:rPr lang="ja-JP" altLang="ja-JP" u="sng"/>
                  <a:t>Task 1 (</a:t>
                </a:r>
                <a14:m>
                  <m:oMath xmlns:m="http://schemas.openxmlformats.org/officeDocument/2006/math">
                    <m:sSub>
                      <m:sSubPr>
                        <m:ctrlPr>
                          <a:rPr lang="en-US" altLang="ja-JP" b="0" i="1" u="sng" smtClean="0">
                            <a:latin typeface="Cambria Math" panose="02040503050406030204" pitchFamily="18" charset="0"/>
                          </a:rPr>
                        </m:ctrlPr>
                      </m:sSubPr>
                      <m:e>
                        <m:r>
                          <a:rPr lang="en-US" altLang="ja-JP" b="0" i="1" u="sng" smtClean="0">
                            <a:latin typeface="Cambria Math" panose="02040503050406030204" pitchFamily="18" charset="0"/>
                          </a:rPr>
                          <m:t>𝑆</m:t>
                        </m:r>
                      </m:e>
                      <m:sub>
                        <m:r>
                          <a:rPr lang="en-US" altLang="ja-JP" b="0" i="1" u="sng" smtClean="0">
                            <a:latin typeface="Cambria Math" panose="02040503050406030204" pitchFamily="18" charset="0"/>
                          </a:rPr>
                          <m:t>𝑗𝑜𝑖𝑛𝑡</m:t>
                        </m:r>
                        <m:r>
                          <a:rPr lang="en-US" altLang="ja-JP" i="1" u="sng">
                            <a:latin typeface="Cambria Math" panose="02040503050406030204" pitchFamily="18" charset="0"/>
                          </a:rPr>
                          <m:t>4</m:t>
                        </m:r>
                      </m:sub>
                    </m:sSub>
                    <m:r>
                      <a:rPr lang="ja-JP" altLang="en-US" i="1" u="sng">
                        <a:latin typeface="Cambria Math" panose="02040503050406030204" pitchFamily="18" charset="0"/>
                      </a:rPr>
                      <m:t>→</m:t>
                    </m:r>
                    <m:sSub>
                      <m:sSubPr>
                        <m:ctrlPr>
                          <a:rPr lang="en-US" altLang="ja-JP" b="0" i="1" u="sng" smtClean="0">
                            <a:latin typeface="Cambria Math" panose="02040503050406030204" pitchFamily="18" charset="0"/>
                          </a:rPr>
                        </m:ctrlPr>
                      </m:sSubPr>
                      <m:e>
                        <m:r>
                          <a:rPr lang="en-US" altLang="ja-JP" b="0" i="1" u="sng" smtClean="0">
                            <a:latin typeface="Cambria Math" panose="02040503050406030204" pitchFamily="18" charset="0"/>
                          </a:rPr>
                          <m:t>𝑆</m:t>
                        </m:r>
                      </m:e>
                      <m:sub>
                        <m:r>
                          <a:rPr lang="en-US" altLang="ja-JP" b="0" i="1" u="sng" smtClean="0">
                            <a:latin typeface="Cambria Math" panose="02040503050406030204" pitchFamily="18" charset="0"/>
                          </a:rPr>
                          <m:t>𝑗𝑜𝑖𝑛𝑡</m:t>
                        </m:r>
                        <m:r>
                          <a:rPr lang="en-US" altLang="ja-JP" i="1" u="sng">
                            <a:latin typeface="Cambria Math" panose="02040503050406030204" pitchFamily="18" charset="0"/>
                          </a:rPr>
                          <m:t>5</m:t>
                        </m:r>
                      </m:sub>
                    </m:sSub>
                  </m:oMath>
                </a14:m>
                <a:r>
                  <a:rPr lang="ja-JP" altLang="ja-JP" u="sng"/>
                  <a:t>) </a:t>
                </a:r>
                <a:r>
                  <a:rPr lang="ja-JP" altLang="ja-JP"/>
                  <a:t>or in </a:t>
                </a:r>
                <a:r>
                  <a:rPr lang="ja-JP" altLang="ja-JP" u="sng"/>
                  <a:t>Task 2 (</a:t>
                </a:r>
                <a14:m>
                  <m:oMath xmlns:m="http://schemas.openxmlformats.org/officeDocument/2006/math">
                    <m:sSub>
                      <m:sSubPr>
                        <m:ctrlPr>
                          <a:rPr lang="en-US" altLang="ja-JP" b="0" i="1" u="sng" smtClean="0">
                            <a:latin typeface="Cambria Math" panose="02040503050406030204" pitchFamily="18" charset="0"/>
                          </a:rPr>
                        </m:ctrlPr>
                      </m:sSubPr>
                      <m:e>
                        <m:r>
                          <a:rPr lang="en-US" altLang="ja-JP" b="0" i="1" u="sng" smtClean="0">
                            <a:latin typeface="Cambria Math" panose="02040503050406030204" pitchFamily="18" charset="0"/>
                          </a:rPr>
                          <m:t>𝑆</m:t>
                        </m:r>
                      </m:e>
                      <m:sub>
                        <m:r>
                          <m:rPr>
                            <m:sty m:val="p"/>
                          </m:rPr>
                          <a:rPr lang="en-US" altLang="ja-JP" b="0" i="0" u="sng" smtClean="0">
                            <a:latin typeface="Cambria Math" panose="02040503050406030204" pitchFamily="18" charset="0"/>
                          </a:rPr>
                          <m:t>joint</m:t>
                        </m:r>
                        <m:r>
                          <a:rPr lang="en-US" altLang="ja-JP" u="sng">
                            <a:latin typeface="Cambria Math" panose="02040503050406030204" pitchFamily="18" charset="0"/>
                          </a:rPr>
                          <m:t>3</m:t>
                        </m:r>
                      </m:sub>
                    </m:sSub>
                    <m:r>
                      <a:rPr lang="ja-JP" altLang="en-US" u="sng">
                        <a:latin typeface="Cambria Math" panose="02040503050406030204" pitchFamily="18" charset="0"/>
                      </a:rPr>
                      <m:t>→</m:t>
                    </m:r>
                    <m:sSub>
                      <m:sSubPr>
                        <m:ctrlPr>
                          <a:rPr lang="en-US" altLang="ja-JP" b="0" i="1" u="sng" smtClean="0">
                            <a:latin typeface="Cambria Math" panose="02040503050406030204" pitchFamily="18" charset="0"/>
                          </a:rPr>
                        </m:ctrlPr>
                      </m:sSubPr>
                      <m:e>
                        <m:r>
                          <a:rPr lang="en-US" altLang="ja-JP" b="0" i="1" u="sng" smtClean="0">
                            <a:latin typeface="Cambria Math" panose="02040503050406030204" pitchFamily="18" charset="0"/>
                          </a:rPr>
                          <m:t>𝑆</m:t>
                        </m:r>
                      </m:e>
                      <m:sub>
                        <m:r>
                          <m:rPr>
                            <m:sty m:val="p"/>
                          </m:rPr>
                          <a:rPr lang="en-US" altLang="ja-JP" u="sng">
                            <a:latin typeface="Cambria Math" panose="02040503050406030204" pitchFamily="18" charset="0"/>
                          </a:rPr>
                          <m:t>joint</m:t>
                        </m:r>
                        <m:r>
                          <a:rPr lang="en-US" altLang="ja-JP" b="0" i="1" u="sng" smtClean="0">
                            <a:latin typeface="Cambria Math" panose="02040503050406030204" pitchFamily="18" charset="0"/>
                          </a:rPr>
                          <m:t>5</m:t>
                        </m:r>
                      </m:sub>
                    </m:sSub>
                  </m:oMath>
                </a14:m>
                <a:r>
                  <a:rPr lang="ja-JP" altLang="ja-JP" u="sng"/>
                  <a:t>)</a:t>
                </a:r>
                <a:r>
                  <a:rPr lang="ja-JP" altLang="ja-JP"/>
                  <a:t>, both pathways ultimately lead irreversibly to the </a:t>
                </a:r>
                <a:r>
                  <a:rPr lang="en-US" altLang="ja-JP" b="1" dirty="0"/>
                  <a:t>filter’s </a:t>
                </a:r>
                <a:r>
                  <a:rPr lang="en" altLang="ja-JP" b="1" dirty="0"/>
                  <a:t>absorbing</a:t>
                </a:r>
                <a:r>
                  <a:rPr lang="ja-JP" altLang="ja-JP" b="1"/>
                  <a:t> failure state</a:t>
                </a:r>
                <a:r>
                  <a:rPr lang="ja-JP" altLang="ja-JP"/>
                  <a:t>.</a:t>
                </a:r>
                <a:endParaRPr lang="en-US" altLang="ja-JP" dirty="0"/>
              </a:p>
            </p:txBody>
          </p:sp>
        </mc:Choice>
        <mc:Fallback xmlns="">
          <p:sp>
            <p:nvSpPr>
              <p:cNvPr id="38" name="コンテンツ プレースホルダー 4">
                <a:extLst>
                  <a:ext uri="{FF2B5EF4-FFF2-40B4-BE49-F238E27FC236}">
                    <a16:creationId xmlns:a16="http://schemas.microsoft.com/office/drawing/2014/main" id="{A651A7B3-7E01-FE61-A8D7-D2608F700EC8}"/>
                  </a:ext>
                </a:extLst>
              </p:cNvPr>
              <p:cNvSpPr txBox="1">
                <a:spLocks noRot="1" noChangeAspect="1" noMove="1" noResize="1" noEditPoints="1" noAdjustHandles="1" noChangeArrowheads="1" noChangeShapeType="1" noTextEdit="1"/>
              </p:cNvSpPr>
              <p:nvPr/>
            </p:nvSpPr>
            <p:spPr bwMode="auto">
              <a:xfrm>
                <a:off x="234339" y="1148151"/>
                <a:ext cx="8730587" cy="1211213"/>
              </a:xfrm>
              <a:prstGeom prst="rect">
                <a:avLst/>
              </a:prstGeom>
              <a:blipFill>
                <a:blip r:embed="rId3"/>
                <a:stretch>
                  <a:fillRect l="-290" t="-2083" r="-581" b="-3125"/>
                </a:stretch>
              </a:blipFill>
              <a:ln w="9525">
                <a:noFill/>
                <a:miter lim="800000"/>
                <a:headEnd/>
                <a:tailEnd/>
              </a:ln>
            </p:spPr>
            <p:txBody>
              <a:bodyPr/>
              <a:lstStyle/>
              <a:p>
                <a:r>
                  <a:rPr lang="ja-JP" altLang="en-US">
                    <a:noFill/>
                  </a:rPr>
                  <a:t> </a:t>
                </a:r>
              </a:p>
            </p:txBody>
          </p:sp>
        </mc:Fallback>
      </mc:AlternateContent>
      <p:pic>
        <p:nvPicPr>
          <p:cNvPr id="4" name="図 3">
            <a:extLst>
              <a:ext uri="{FF2B5EF4-FFF2-40B4-BE49-F238E27FC236}">
                <a16:creationId xmlns:a16="http://schemas.microsoft.com/office/drawing/2014/main" id="{8EF636E0-9A7A-5978-D4CD-953CA25963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4845" y="3149305"/>
            <a:ext cx="4974299" cy="2922676"/>
          </a:xfrm>
          <a:prstGeom prst="rect">
            <a:avLst/>
          </a:prstGeom>
        </p:spPr>
      </p:pic>
      <p:sp>
        <p:nvSpPr>
          <p:cNvPr id="5" name="角丸四角形 4">
            <a:extLst>
              <a:ext uri="{FF2B5EF4-FFF2-40B4-BE49-F238E27FC236}">
                <a16:creationId xmlns:a16="http://schemas.microsoft.com/office/drawing/2014/main" id="{98191F99-009F-7040-2D3D-24B1D4C96996}"/>
              </a:ext>
            </a:extLst>
          </p:cNvPr>
          <p:cNvSpPr/>
          <p:nvPr/>
        </p:nvSpPr>
        <p:spPr>
          <a:xfrm>
            <a:off x="5940152" y="3062110"/>
            <a:ext cx="720080" cy="452497"/>
          </a:xfrm>
          <a:prstGeom prst="roundRect">
            <a:avLst/>
          </a:prstGeom>
          <a:solidFill>
            <a:srgbClr val="778F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t>S</a:t>
            </a:r>
            <a:r>
              <a:rPr kumimoji="1" lang="en-US" altLang="ja-JP" i="1" baseline="-25000" dirty="0"/>
              <a:t>joint1</a:t>
            </a:r>
            <a:endParaRPr kumimoji="1" lang="ja-JP" altLang="en-US" i="1" baseline="-25000"/>
          </a:p>
        </p:txBody>
      </p:sp>
      <p:sp>
        <p:nvSpPr>
          <p:cNvPr id="6" name="角丸四角形 5">
            <a:extLst>
              <a:ext uri="{FF2B5EF4-FFF2-40B4-BE49-F238E27FC236}">
                <a16:creationId xmlns:a16="http://schemas.microsoft.com/office/drawing/2014/main" id="{966E0C56-7AB9-70F9-BB49-4BB6BDF1480F}"/>
              </a:ext>
            </a:extLst>
          </p:cNvPr>
          <p:cNvSpPr/>
          <p:nvPr/>
        </p:nvSpPr>
        <p:spPr>
          <a:xfrm>
            <a:off x="5940152" y="3697887"/>
            <a:ext cx="720080" cy="452497"/>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t>S</a:t>
            </a:r>
            <a:r>
              <a:rPr kumimoji="1" lang="en-US" altLang="ja-JP" i="1" baseline="-25000" dirty="0"/>
              <a:t>joint2</a:t>
            </a:r>
            <a:endParaRPr kumimoji="1" lang="ja-JP" altLang="en-US" i="1" baseline="-25000"/>
          </a:p>
        </p:txBody>
      </p:sp>
      <p:sp>
        <p:nvSpPr>
          <p:cNvPr id="7" name="角丸四角形 6">
            <a:extLst>
              <a:ext uri="{FF2B5EF4-FFF2-40B4-BE49-F238E27FC236}">
                <a16:creationId xmlns:a16="http://schemas.microsoft.com/office/drawing/2014/main" id="{02BFBE35-1E0E-3ED3-013E-54895AC5ABD2}"/>
              </a:ext>
            </a:extLst>
          </p:cNvPr>
          <p:cNvSpPr/>
          <p:nvPr/>
        </p:nvSpPr>
        <p:spPr>
          <a:xfrm>
            <a:off x="5940152" y="4384395"/>
            <a:ext cx="720080" cy="452497"/>
          </a:xfrm>
          <a:prstGeom prst="roundRect">
            <a:avLst/>
          </a:prstGeom>
          <a:solidFill>
            <a:srgbClr val="093A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t>S</a:t>
            </a:r>
            <a:r>
              <a:rPr kumimoji="1" lang="en-US" altLang="ja-JP" i="1" baseline="-25000" dirty="0"/>
              <a:t>joint3</a:t>
            </a:r>
            <a:endParaRPr kumimoji="1" lang="ja-JP" altLang="en-US" i="1" baseline="-25000"/>
          </a:p>
        </p:txBody>
      </p:sp>
      <p:sp>
        <p:nvSpPr>
          <p:cNvPr id="8" name="角丸四角形 7">
            <a:extLst>
              <a:ext uri="{FF2B5EF4-FFF2-40B4-BE49-F238E27FC236}">
                <a16:creationId xmlns:a16="http://schemas.microsoft.com/office/drawing/2014/main" id="{02E6DAE8-D824-B95F-F6FD-6F12633E832A}"/>
              </a:ext>
            </a:extLst>
          </p:cNvPr>
          <p:cNvSpPr/>
          <p:nvPr/>
        </p:nvSpPr>
        <p:spPr>
          <a:xfrm>
            <a:off x="5940152" y="5107925"/>
            <a:ext cx="720080" cy="452497"/>
          </a:xfrm>
          <a:prstGeom prst="roundRect">
            <a:avLst/>
          </a:prstGeom>
          <a:solidFill>
            <a:srgbClr val="093A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t>S</a:t>
            </a:r>
            <a:r>
              <a:rPr kumimoji="1" lang="en-US" altLang="ja-JP" i="1" baseline="-25000" dirty="0"/>
              <a:t>joint4</a:t>
            </a:r>
            <a:endParaRPr kumimoji="1" lang="ja-JP" altLang="en-US" i="1" baseline="-25000"/>
          </a:p>
        </p:txBody>
      </p:sp>
      <p:sp>
        <p:nvSpPr>
          <p:cNvPr id="9" name="角丸四角形 8">
            <a:extLst>
              <a:ext uri="{FF2B5EF4-FFF2-40B4-BE49-F238E27FC236}">
                <a16:creationId xmlns:a16="http://schemas.microsoft.com/office/drawing/2014/main" id="{BD5B8EDC-3F0C-2B53-4EFF-27F92A456831}"/>
              </a:ext>
            </a:extLst>
          </p:cNvPr>
          <p:cNvSpPr/>
          <p:nvPr/>
        </p:nvSpPr>
        <p:spPr>
          <a:xfrm>
            <a:off x="5940152" y="5857695"/>
            <a:ext cx="720080" cy="452497"/>
          </a:xfrm>
          <a:prstGeom prst="roundRect">
            <a:avLst/>
          </a:prstGeom>
          <a:solidFill>
            <a:srgbClr val="093A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i="1" dirty="0"/>
              <a:t>S</a:t>
            </a:r>
            <a:r>
              <a:rPr kumimoji="1" lang="en-US" altLang="ja-JP" i="1" baseline="-25000" dirty="0"/>
              <a:t>joint5</a:t>
            </a:r>
            <a:endParaRPr kumimoji="1" lang="ja-JP" altLang="en-US" i="1" baseline="-25000"/>
          </a:p>
        </p:txBody>
      </p:sp>
      <p:sp>
        <p:nvSpPr>
          <p:cNvPr id="11" name="テキスト ボックス 10">
            <a:extLst>
              <a:ext uri="{FF2B5EF4-FFF2-40B4-BE49-F238E27FC236}">
                <a16:creationId xmlns:a16="http://schemas.microsoft.com/office/drawing/2014/main" id="{2B617608-8BE9-8DA5-AFD6-2F1CA2CE8F13}"/>
              </a:ext>
            </a:extLst>
          </p:cNvPr>
          <p:cNvSpPr txBox="1"/>
          <p:nvPr/>
        </p:nvSpPr>
        <p:spPr>
          <a:xfrm>
            <a:off x="6678814" y="3038633"/>
            <a:ext cx="1943777" cy="461665"/>
          </a:xfrm>
          <a:prstGeom prst="rect">
            <a:avLst/>
          </a:prstGeom>
          <a:noFill/>
        </p:spPr>
        <p:txBody>
          <a:bodyPr wrap="square" rtlCol="0">
            <a:spAutoFit/>
          </a:bodyPr>
          <a:lstStyle/>
          <a:p>
            <a:r>
              <a:rPr kumimoji="1" lang="en-US" altLang="ja-JP" sz="1200" dirty="0"/>
              <a:t>: filter is working, </a:t>
            </a:r>
          </a:p>
          <a:p>
            <a:r>
              <a:rPr kumimoji="1" lang="en-US" altLang="ja-JP" sz="1200" dirty="0"/>
              <a:t>task1&amp;2 are stopped</a:t>
            </a:r>
            <a:endParaRPr kumimoji="1" lang="ja-JP" altLang="en-US" sz="1200"/>
          </a:p>
        </p:txBody>
      </p:sp>
      <p:sp>
        <p:nvSpPr>
          <p:cNvPr id="13" name="テキスト ボックス 12">
            <a:extLst>
              <a:ext uri="{FF2B5EF4-FFF2-40B4-BE49-F238E27FC236}">
                <a16:creationId xmlns:a16="http://schemas.microsoft.com/office/drawing/2014/main" id="{8C8B6253-5920-DF3D-9654-E8663E1EB349}"/>
              </a:ext>
            </a:extLst>
          </p:cNvPr>
          <p:cNvSpPr txBox="1"/>
          <p:nvPr/>
        </p:nvSpPr>
        <p:spPr>
          <a:xfrm>
            <a:off x="6678814" y="3615654"/>
            <a:ext cx="1943777" cy="646331"/>
          </a:xfrm>
          <a:prstGeom prst="rect">
            <a:avLst/>
          </a:prstGeom>
          <a:noFill/>
        </p:spPr>
        <p:txBody>
          <a:bodyPr wrap="square" rtlCol="0">
            <a:spAutoFit/>
          </a:bodyPr>
          <a:lstStyle/>
          <a:p>
            <a:r>
              <a:rPr kumimoji="1" lang="en-US" altLang="ja-JP" sz="1200" dirty="0"/>
              <a:t>: filter is stopped, </a:t>
            </a:r>
            <a:br>
              <a:rPr kumimoji="1" lang="en-US" altLang="ja-JP" sz="1200" dirty="0"/>
            </a:br>
            <a:r>
              <a:rPr kumimoji="1" lang="en-US" altLang="ja-JP" sz="1200" dirty="0"/>
              <a:t>task1 is undergoing,</a:t>
            </a:r>
            <a:br>
              <a:rPr kumimoji="1" lang="en-US" altLang="ja-JP" sz="1200" dirty="0"/>
            </a:br>
            <a:r>
              <a:rPr kumimoji="1" lang="en-US" altLang="ja-JP" sz="1200" dirty="0"/>
              <a:t>task2 is stopped</a:t>
            </a:r>
            <a:endParaRPr kumimoji="1" lang="ja-JP" altLang="en-US" sz="1200"/>
          </a:p>
        </p:txBody>
      </p:sp>
      <p:sp>
        <p:nvSpPr>
          <p:cNvPr id="16" name="テキスト ボックス 15">
            <a:extLst>
              <a:ext uri="{FF2B5EF4-FFF2-40B4-BE49-F238E27FC236}">
                <a16:creationId xmlns:a16="http://schemas.microsoft.com/office/drawing/2014/main" id="{2D665E84-D2F3-ABD8-FAC6-F7232046F11F}"/>
              </a:ext>
            </a:extLst>
          </p:cNvPr>
          <p:cNvSpPr txBox="1"/>
          <p:nvPr/>
        </p:nvSpPr>
        <p:spPr>
          <a:xfrm>
            <a:off x="6678814" y="4343053"/>
            <a:ext cx="2336268" cy="646331"/>
          </a:xfrm>
          <a:prstGeom prst="rect">
            <a:avLst/>
          </a:prstGeom>
          <a:noFill/>
        </p:spPr>
        <p:txBody>
          <a:bodyPr wrap="square" rtlCol="0">
            <a:spAutoFit/>
          </a:bodyPr>
          <a:lstStyle/>
          <a:p>
            <a:r>
              <a:rPr kumimoji="1" lang="en-US" altLang="ja-JP" sz="1200" dirty="0"/>
              <a:t>: filter is stopped, </a:t>
            </a:r>
            <a:br>
              <a:rPr kumimoji="1" lang="en-US" altLang="ja-JP" sz="1200" dirty="0"/>
            </a:br>
            <a:r>
              <a:rPr kumimoji="1" lang="en-US" altLang="ja-JP" sz="1200" dirty="0"/>
              <a:t>task1 is stopped (success), </a:t>
            </a:r>
            <a:r>
              <a:rPr lang="en-US" altLang="ja-JP" sz="1200" dirty="0"/>
              <a:t>task2 is undergoing </a:t>
            </a:r>
            <a:endParaRPr kumimoji="1" lang="ja-JP" altLang="en-US" sz="1200"/>
          </a:p>
        </p:txBody>
      </p:sp>
      <p:sp>
        <p:nvSpPr>
          <p:cNvPr id="21" name="テキスト ボックス 20">
            <a:extLst>
              <a:ext uri="{FF2B5EF4-FFF2-40B4-BE49-F238E27FC236}">
                <a16:creationId xmlns:a16="http://schemas.microsoft.com/office/drawing/2014/main" id="{6FF78196-7705-39B0-EFB1-352F4040DF2B}"/>
              </a:ext>
            </a:extLst>
          </p:cNvPr>
          <p:cNvSpPr txBox="1"/>
          <p:nvPr/>
        </p:nvSpPr>
        <p:spPr>
          <a:xfrm>
            <a:off x="6678814" y="5039660"/>
            <a:ext cx="2336268" cy="646331"/>
          </a:xfrm>
          <a:prstGeom prst="rect">
            <a:avLst/>
          </a:prstGeom>
          <a:noFill/>
        </p:spPr>
        <p:txBody>
          <a:bodyPr wrap="square" rtlCol="0">
            <a:spAutoFit/>
          </a:bodyPr>
          <a:lstStyle/>
          <a:p>
            <a:r>
              <a:rPr lang="en-US" altLang="ja-JP" sz="1200" dirty="0"/>
              <a:t>: filter is stopped, </a:t>
            </a:r>
            <a:br>
              <a:rPr lang="en-US" altLang="ja-JP" sz="1200" dirty="0"/>
            </a:br>
            <a:r>
              <a:rPr lang="en-US" altLang="ja-JP" sz="1200" dirty="0"/>
              <a:t>task1 is stopped (failed), </a:t>
            </a:r>
            <a:br>
              <a:rPr lang="en-US" altLang="ja-JP" sz="1200" dirty="0"/>
            </a:br>
            <a:r>
              <a:rPr lang="en-US" altLang="ja-JP" sz="1200" dirty="0"/>
              <a:t>task2 is undergoing </a:t>
            </a:r>
            <a:endParaRPr lang="ja-JP" altLang="en-US" sz="1200"/>
          </a:p>
        </p:txBody>
      </p:sp>
      <p:sp>
        <p:nvSpPr>
          <p:cNvPr id="22" name="テキスト ボックス 21">
            <a:extLst>
              <a:ext uri="{FF2B5EF4-FFF2-40B4-BE49-F238E27FC236}">
                <a16:creationId xmlns:a16="http://schemas.microsoft.com/office/drawing/2014/main" id="{13ED08CF-C37C-0531-A535-497227C36D17}"/>
              </a:ext>
            </a:extLst>
          </p:cNvPr>
          <p:cNvSpPr txBox="1"/>
          <p:nvPr/>
        </p:nvSpPr>
        <p:spPr>
          <a:xfrm>
            <a:off x="6678814" y="5802073"/>
            <a:ext cx="2336268" cy="646331"/>
          </a:xfrm>
          <a:prstGeom prst="rect">
            <a:avLst/>
          </a:prstGeom>
          <a:noFill/>
        </p:spPr>
        <p:txBody>
          <a:bodyPr wrap="square" rtlCol="0">
            <a:spAutoFit/>
          </a:bodyPr>
          <a:lstStyle/>
          <a:p>
            <a:r>
              <a:rPr lang="en-US" altLang="ja-JP" sz="1200" dirty="0"/>
              <a:t>: filter is stopped, </a:t>
            </a:r>
            <a:br>
              <a:rPr lang="en-US" altLang="ja-JP" sz="1200" dirty="0"/>
            </a:br>
            <a:r>
              <a:rPr lang="en-US" altLang="ja-JP" sz="1200" dirty="0"/>
              <a:t>task1 is stopped, </a:t>
            </a:r>
            <a:br>
              <a:rPr lang="en-US" altLang="ja-JP" sz="1200" dirty="0"/>
            </a:br>
            <a:r>
              <a:rPr lang="en-US" altLang="ja-JP" sz="1200" dirty="0"/>
              <a:t>task2 is stopped </a:t>
            </a:r>
            <a:endParaRPr lang="ja-JP" altLang="en-US" sz="1200"/>
          </a:p>
        </p:txBody>
      </p:sp>
    </p:spTree>
    <p:extLst>
      <p:ext uri="{BB962C8B-B14F-4D97-AF65-F5344CB8AC3E}">
        <p14:creationId xmlns:p14="http://schemas.microsoft.com/office/powerpoint/2010/main" val="1404628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68118-B047-44F2-FF9A-0F91CC74D7F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60F705C-461B-8D12-E4D9-29C09E63D7A7}"/>
              </a:ext>
            </a:extLst>
          </p:cNvPr>
          <p:cNvSpPr>
            <a:spLocks noGrp="1"/>
          </p:cNvSpPr>
          <p:nvPr>
            <p:ph type="title"/>
          </p:nvPr>
        </p:nvSpPr>
        <p:spPr>
          <a:xfrm>
            <a:off x="374496" y="332656"/>
            <a:ext cx="8769504" cy="779116"/>
          </a:xfrm>
        </p:spPr>
        <p:txBody>
          <a:bodyPr/>
          <a:lstStyle/>
          <a:p>
            <a:pPr algn="l"/>
            <a:r>
              <a:rPr lang="en-US" altLang="ja-JP" dirty="0"/>
              <a:t>Scenario-Specific Adaptation </a:t>
            </a:r>
            <a:r>
              <a:rPr lang="en-US" altLang="zh-TW" sz="1800" dirty="0">
                <a:cs typeface="Calibri" panose="020F0502020204030204" pitchFamily="34" charset="0"/>
              </a:rPr>
              <a:t>—</a:t>
            </a:r>
            <a:r>
              <a:rPr lang="en-US" altLang="ja-JP" sz="1800" dirty="0"/>
              <a:t> Modeling Working Environment </a:t>
            </a:r>
            <a:r>
              <a:rPr lang="en-US" altLang="zh-TW" sz="1800" dirty="0">
                <a:cs typeface="Calibri" panose="020F0502020204030204" pitchFamily="34" charset="0"/>
              </a:rPr>
              <a:t>—</a:t>
            </a:r>
            <a:endParaRPr kumimoji="1" lang="ja-JP" altLang="en-US" sz="1800" dirty="0"/>
          </a:p>
        </p:txBody>
      </p:sp>
      <p:sp>
        <p:nvSpPr>
          <p:cNvPr id="91" name="テキスト プレースホルダー 5">
            <a:extLst>
              <a:ext uri="{FF2B5EF4-FFF2-40B4-BE49-F238E27FC236}">
                <a16:creationId xmlns:a16="http://schemas.microsoft.com/office/drawing/2014/main" id="{35B6A221-383D-4242-E271-9904002F288B}"/>
              </a:ext>
            </a:extLst>
          </p:cNvPr>
          <p:cNvSpPr txBox="1">
            <a:spLocks/>
          </p:cNvSpPr>
          <p:nvPr/>
        </p:nvSpPr>
        <p:spPr>
          <a:xfrm>
            <a:off x="-67772" y="3209094"/>
            <a:ext cx="7592099"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Simulation of Volcanic Ash Diffusion in an Indoor Work Environment</a:t>
            </a:r>
          </a:p>
        </p:txBody>
      </p:sp>
      <p:cxnSp>
        <p:nvCxnSpPr>
          <p:cNvPr id="92" name="直線コネクタ 91">
            <a:extLst>
              <a:ext uri="{FF2B5EF4-FFF2-40B4-BE49-F238E27FC236}">
                <a16:creationId xmlns:a16="http://schemas.microsoft.com/office/drawing/2014/main" id="{D0B48DF2-D87F-FB54-3688-AEA1FBE5337A}"/>
              </a:ext>
            </a:extLst>
          </p:cNvPr>
          <p:cNvCxnSpPr>
            <a:cxnSpLocks/>
          </p:cNvCxnSpPr>
          <p:nvPr/>
        </p:nvCxnSpPr>
        <p:spPr>
          <a:xfrm>
            <a:off x="435846" y="3569134"/>
            <a:ext cx="8353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8" name="コンテンツ プレースホルダー 4">
                <a:extLst>
                  <a:ext uri="{FF2B5EF4-FFF2-40B4-BE49-F238E27FC236}">
                    <a16:creationId xmlns:a16="http://schemas.microsoft.com/office/drawing/2014/main" id="{51149E3F-F1CA-E59E-3ACB-C1EB9EE454E1}"/>
                  </a:ext>
                </a:extLst>
              </p:cNvPr>
              <p:cNvSpPr txBox="1">
                <a:spLocks/>
              </p:cNvSpPr>
              <p:nvPr/>
            </p:nvSpPr>
            <p:spPr bwMode="auto">
              <a:xfrm>
                <a:off x="234339" y="1148151"/>
                <a:ext cx="8730587" cy="1758935"/>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ja-JP" altLang="ja-JP" b="1"/>
                  <a:t>Ash Mass Concentration:</a:t>
                </a:r>
                <a:r>
                  <a:rPr lang="en-US" altLang="ja-JP" b="1" dirty="0"/>
                  <a:t> </a:t>
                </a:r>
                <a:r>
                  <a:rPr lang="ja-JP" altLang="ja-JP"/>
                  <a:t>The dispersion of dislodged volcanic ash in the room is mathematically modeled using Fick’s first law applied to the continuity equation.</a:t>
                </a:r>
                <a:endParaRPr lang="en-US" altLang="ja-JP" dirty="0"/>
              </a:p>
              <a:p>
                <a:r>
                  <a:rPr lang="ja-JP" altLang="ja-JP" b="1"/>
                  <a:t>Step-wise Accumulation:</a:t>
                </a:r>
                <a:r>
                  <a:rPr lang="en-US" altLang="ja-JP" b="1" dirty="0"/>
                  <a:t> </a:t>
                </a:r>
                <a:r>
                  <a:rPr lang="ja-JP" altLang="ja-JP"/>
                  <a:t>Module 4 calculates the superposition of all previously released ash masses at distance </a:t>
                </a:r>
                <a14:m>
                  <m:oMath xmlns:m="http://schemas.openxmlformats.org/officeDocument/2006/math">
                    <m:r>
                      <m:rPr>
                        <m:sty m:val="p"/>
                      </m:rPr>
                      <a:rPr lang="ja-JP" altLang="en-US" b="0" i="1">
                        <a:latin typeface="Cambria Math" panose="02040503050406030204" pitchFamily="18" charset="0"/>
                      </a:rPr>
                      <m:t>r</m:t>
                    </m:r>
                  </m:oMath>
                </a14:m>
                <a:r>
                  <a:rPr lang="ja-JP" altLang="ja-JP"/>
                  <a:t>from the worker.</a:t>
                </a:r>
                <a:endParaRPr lang="en-US" altLang="ja-JP" dirty="0"/>
              </a:p>
              <a:p>
                <a:r>
                  <a:rPr lang="ja-JP" altLang="ja-JP" b="1"/>
                  <a:t>Dynamic Output:</a:t>
                </a:r>
                <a:r>
                  <a:rPr lang="en-US" altLang="ja-JP" b="1" dirty="0"/>
                  <a:t> </a:t>
                </a:r>
                <a:r>
                  <a:rPr lang="ja-JP" altLang="ja-JP"/>
                  <a:t>This directly updates the dynamic ash concentration at every single timestep.</a:t>
                </a:r>
                <a:endParaRPr lang="en-US" altLang="ja-JP" dirty="0"/>
              </a:p>
              <a:p>
                <a:endParaRPr lang="en-US" altLang="ja-JP" dirty="0"/>
              </a:p>
            </p:txBody>
          </p:sp>
        </mc:Choice>
        <mc:Fallback xmlns="">
          <p:sp>
            <p:nvSpPr>
              <p:cNvPr id="38" name="コンテンツ プレースホルダー 4">
                <a:extLst>
                  <a:ext uri="{FF2B5EF4-FFF2-40B4-BE49-F238E27FC236}">
                    <a16:creationId xmlns:a16="http://schemas.microsoft.com/office/drawing/2014/main" id="{51149E3F-F1CA-E59E-3ACB-C1EB9EE454E1}"/>
                  </a:ext>
                </a:extLst>
              </p:cNvPr>
              <p:cNvSpPr txBox="1">
                <a:spLocks noRot="1" noChangeAspect="1" noMove="1" noResize="1" noEditPoints="1" noAdjustHandles="1" noChangeArrowheads="1" noChangeShapeType="1" noTextEdit="1"/>
              </p:cNvSpPr>
              <p:nvPr/>
            </p:nvSpPr>
            <p:spPr bwMode="auto">
              <a:xfrm>
                <a:off x="234339" y="1148151"/>
                <a:ext cx="8730587" cy="1758935"/>
              </a:xfrm>
              <a:prstGeom prst="rect">
                <a:avLst/>
              </a:prstGeom>
              <a:blipFill>
                <a:blip r:embed="rId3"/>
                <a:stretch>
                  <a:fillRect l="-290" t="-1439"/>
                </a:stretch>
              </a:blipFill>
              <a:ln w="9525">
                <a:noFill/>
                <a:miter lim="800000"/>
                <a:headEnd/>
                <a:tailEnd/>
              </a:ln>
            </p:spPr>
            <p:txBody>
              <a:bodyPr/>
              <a:lstStyle/>
              <a:p>
                <a:r>
                  <a:rPr lang="ja-JP" altLang="en-US">
                    <a:noFill/>
                  </a:rPr>
                  <a:t> </a:t>
                </a:r>
              </a:p>
            </p:txBody>
          </p:sp>
        </mc:Fallback>
      </mc:AlternateContent>
      <p:pic>
        <p:nvPicPr>
          <p:cNvPr id="10" name="Picture 2">
            <a:extLst>
              <a:ext uri="{FF2B5EF4-FFF2-40B4-BE49-F238E27FC236}">
                <a16:creationId xmlns:a16="http://schemas.microsoft.com/office/drawing/2014/main" id="{D436979B-75A6-52FD-3517-1D75E4490884}"/>
              </a:ext>
            </a:extLst>
          </p:cNvPr>
          <p:cNvPicPr>
            <a:picLocks noChangeAspect="1"/>
          </p:cNvPicPr>
          <p:nvPr/>
        </p:nvPicPr>
        <p:blipFill>
          <a:blip r:embed="rId4"/>
          <a:srcRect l="4374" t="24008" r="57345" b="25491"/>
          <a:stretch>
            <a:fillRect/>
          </a:stretch>
        </p:blipFill>
        <p:spPr>
          <a:xfrm>
            <a:off x="283213" y="3933761"/>
            <a:ext cx="2520280" cy="1854628"/>
          </a:xfrm>
          <a:prstGeom prst="rect">
            <a:avLst/>
          </a:prstGeom>
        </p:spPr>
      </p:pic>
      <mc:AlternateContent xmlns:mc="http://schemas.openxmlformats.org/markup-compatibility/2006" xmlns:a14="http://schemas.microsoft.com/office/drawing/2010/main">
        <mc:Choice Requires="a14">
          <p:sp>
            <p:nvSpPr>
              <p:cNvPr id="19" name="テキスト ボックス 18">
                <a:extLst>
                  <a:ext uri="{FF2B5EF4-FFF2-40B4-BE49-F238E27FC236}">
                    <a16:creationId xmlns:a16="http://schemas.microsoft.com/office/drawing/2014/main" id="{A7EB4C15-7CAC-EA02-8FF8-2BA5616C016C}"/>
                  </a:ext>
                </a:extLst>
              </p:cNvPr>
              <p:cNvSpPr txBox="1"/>
              <p:nvPr/>
            </p:nvSpPr>
            <p:spPr>
              <a:xfrm>
                <a:off x="4384183" y="4795710"/>
                <a:ext cx="4113783" cy="813749"/>
              </a:xfrm>
              <a:prstGeom prst="rect">
                <a:avLst/>
              </a:prstGeom>
              <a:noFill/>
              <a:ln>
                <a:noFill/>
              </a:ln>
            </p:spPr>
            <p:txBody>
              <a:bodyPr wrap="square">
                <a:spAutoFit/>
              </a:bodyPr>
              <a:lstStyle/>
              <a:p>
                <a:pPr/>
                <a14:m>
                  <m:oMathPara xmlns:m="http://schemas.openxmlformats.org/officeDocument/2006/math">
                    <m:oMathParaPr>
                      <m:jc m:val="centerGroup"/>
                    </m:oMathParaPr>
                    <m:oMath xmlns:m="http://schemas.openxmlformats.org/officeDocument/2006/math">
                      <m:r>
                        <a:rPr lang="ja-JP" altLang="en-US" i="1" smtClean="0">
                          <a:latin typeface="Cambria Math" panose="02040503050406030204" pitchFamily="18" charset="0"/>
                        </a:rPr>
                        <m:t>𝑐</m:t>
                      </m:r>
                      <m:d>
                        <m:dPr>
                          <m:sepChr m:val=","/>
                          <m:ctrlPr>
                            <a:rPr lang="ja-JP" altLang="en-US" b="1" i="1">
                              <a:latin typeface="Cambria Math" panose="02040503050406030204" pitchFamily="18" charset="0"/>
                            </a:rPr>
                          </m:ctrlPr>
                        </m:dPr>
                        <m:e>
                          <m:r>
                            <a:rPr lang="ja-JP" altLang="en-US" b="1" i="1">
                              <a:latin typeface="Cambria Math" panose="02040503050406030204" pitchFamily="18" charset="0"/>
                            </a:rPr>
                            <m:t>𝒓</m:t>
                          </m:r>
                        </m:e>
                        <m:e>
                          <m:r>
                            <a:rPr lang="ja-JP" altLang="en-US" i="1">
                              <a:latin typeface="Cambria Math" panose="02040503050406030204" pitchFamily="18" charset="0"/>
                            </a:rPr>
                            <m:t>𝑡</m:t>
                          </m:r>
                        </m:e>
                      </m:d>
                      <m:r>
                        <a:rPr lang="ja-JP" altLang="en-US" i="0">
                          <a:latin typeface="Cambria Math" panose="02040503050406030204" pitchFamily="18" charset="0"/>
                        </a:rPr>
                        <m:t>=</m:t>
                      </m:r>
                      <m:f>
                        <m:fPr>
                          <m:ctrlPr>
                            <a:rPr lang="ja-JP" altLang="en-US" i="1">
                              <a:latin typeface="Cambria Math" panose="02040503050406030204" pitchFamily="18" charset="0"/>
                            </a:rPr>
                          </m:ctrlPr>
                        </m:fPr>
                        <m:num>
                          <m:sSub>
                            <m:sSubPr>
                              <m:ctrlPr>
                                <a:rPr lang="ja-JP" altLang="en-US" i="1">
                                  <a:latin typeface="Cambria Math" panose="02040503050406030204" pitchFamily="18" charset="0"/>
                                </a:rPr>
                              </m:ctrlPr>
                            </m:sSubPr>
                            <m:e>
                              <m:r>
                                <a:rPr lang="ja-JP" altLang="en-US" i="1">
                                  <a:latin typeface="Cambria Math" panose="02040503050406030204" pitchFamily="18" charset="0"/>
                                </a:rPr>
                                <m:t>𝑀</m:t>
                              </m:r>
                            </m:e>
                            <m:sub>
                              <m:r>
                                <a:rPr lang="ja-JP" altLang="en-US" i="0">
                                  <a:latin typeface="Cambria Math" panose="02040503050406030204" pitchFamily="18" charset="0"/>
                                </a:rPr>
                                <m:t>0</m:t>
                              </m:r>
                            </m:sub>
                          </m:sSub>
                        </m:num>
                        <m:den>
                          <m:sSup>
                            <m:sSupPr>
                              <m:ctrlPr>
                                <a:rPr lang="ja-JP" altLang="en-US" i="1">
                                  <a:latin typeface="Cambria Math" panose="02040503050406030204" pitchFamily="18" charset="0"/>
                                </a:rPr>
                              </m:ctrlPr>
                            </m:sSupPr>
                            <m:e>
                              <m:r>
                                <a:rPr lang="ja-JP" altLang="en-US" i="0">
                                  <a:latin typeface="Cambria Math" panose="02040503050406030204" pitchFamily="18" charset="0"/>
                                </a:rPr>
                                <m:t>(4</m:t>
                              </m:r>
                              <m:r>
                                <a:rPr lang="ja-JP" altLang="en-US" i="1">
                                  <a:latin typeface="Cambria Math" panose="02040503050406030204" pitchFamily="18" charset="0"/>
                                </a:rPr>
                                <m:t>𝜋</m:t>
                              </m:r>
                              <m:r>
                                <a:rPr lang="ja-JP" altLang="en-US" i="1">
                                  <a:latin typeface="Cambria Math" panose="02040503050406030204" pitchFamily="18" charset="0"/>
                                </a:rPr>
                                <m:t>𝐷𝑡</m:t>
                              </m:r>
                              <m:r>
                                <a:rPr lang="ja-JP" altLang="en-US" i="0">
                                  <a:latin typeface="Cambria Math" panose="02040503050406030204" pitchFamily="18" charset="0"/>
                                </a:rPr>
                                <m:t>)</m:t>
                              </m:r>
                            </m:e>
                            <m:sup>
                              <m:f>
                                <m:fPr>
                                  <m:type m:val="skw"/>
                                  <m:ctrlPr>
                                    <a:rPr lang="en-US" altLang="ja-JP" b="0" i="1" smtClean="0">
                                      <a:latin typeface="Cambria Math" panose="02040503050406030204" pitchFamily="18" charset="0"/>
                                    </a:rPr>
                                  </m:ctrlPr>
                                </m:fPr>
                                <m:num>
                                  <m:r>
                                    <a:rPr lang="en-US" altLang="ja-JP" b="0" i="0" smtClean="0">
                                      <a:latin typeface="Cambria Math" panose="02040503050406030204" pitchFamily="18" charset="0"/>
                                    </a:rPr>
                                    <m:t>3</m:t>
                                  </m:r>
                                </m:num>
                                <m:den>
                                  <m:r>
                                    <a:rPr lang="ja-JP" altLang="en-US" i="0">
                                      <a:latin typeface="Cambria Math" panose="02040503050406030204" pitchFamily="18" charset="0"/>
                                    </a:rPr>
                                    <m:t>2</m:t>
                                  </m:r>
                                </m:den>
                              </m:f>
                            </m:sup>
                          </m:sSup>
                        </m:den>
                      </m:f>
                      <m:sSup>
                        <m:sSupPr>
                          <m:ctrlPr>
                            <a:rPr lang="ja-JP" altLang="en-US" i="1">
                              <a:latin typeface="Cambria Math" panose="02040503050406030204" pitchFamily="18" charset="0"/>
                            </a:rPr>
                          </m:ctrlPr>
                        </m:sSupPr>
                        <m:e>
                          <m:r>
                            <a:rPr lang="ja-JP" altLang="en-US" i="1">
                              <a:latin typeface="Cambria Math" panose="02040503050406030204" pitchFamily="18" charset="0"/>
                            </a:rPr>
                            <m:t>𝑒</m:t>
                          </m:r>
                        </m:e>
                        <m:sup>
                          <m:d>
                            <m:dPr>
                              <m:ctrlPr>
                                <a:rPr lang="ja-JP" altLang="en-US" i="1">
                                  <a:latin typeface="Cambria Math" panose="02040503050406030204" pitchFamily="18" charset="0"/>
                                </a:rPr>
                              </m:ctrlPr>
                            </m:dPr>
                            <m:e>
                              <m:f>
                                <m:fPr>
                                  <m:ctrlPr>
                                    <a:rPr lang="ja-JP" altLang="en-US" i="1">
                                      <a:latin typeface="Cambria Math" panose="02040503050406030204" pitchFamily="18" charset="0"/>
                                    </a:rPr>
                                  </m:ctrlPr>
                                </m:fPr>
                                <m:num>
                                  <m:r>
                                    <a:rPr lang="ja-JP" altLang="en-US" i="0">
                                      <a:latin typeface="Cambria Math" panose="02040503050406030204" pitchFamily="18" charset="0"/>
                                    </a:rPr>
                                    <m:t>−</m:t>
                                  </m:r>
                                  <m:sSup>
                                    <m:sSupPr>
                                      <m:ctrlPr>
                                        <a:rPr lang="ja-JP" altLang="en-US" i="1">
                                          <a:latin typeface="Cambria Math" panose="02040503050406030204" pitchFamily="18" charset="0"/>
                                        </a:rPr>
                                      </m:ctrlPr>
                                    </m:sSupPr>
                                    <m:e>
                                      <m:d>
                                        <m:dPr>
                                          <m:begChr m:val="‖"/>
                                          <m:endChr m:val="‖"/>
                                          <m:ctrlPr>
                                            <a:rPr lang="ja-JP" altLang="en-US" b="1" i="1">
                                              <a:latin typeface="Cambria Math" panose="02040503050406030204" pitchFamily="18" charset="0"/>
                                            </a:rPr>
                                          </m:ctrlPr>
                                        </m:dPr>
                                        <m:e>
                                          <m:r>
                                            <a:rPr lang="ja-JP" altLang="en-US" b="1" i="1">
                                              <a:latin typeface="Cambria Math" panose="02040503050406030204" pitchFamily="18" charset="0"/>
                                            </a:rPr>
                                            <m:t>𝒓</m:t>
                                          </m:r>
                                          <m:r>
                                            <a:rPr lang="ja-JP" altLang="en-US" b="1" i="0">
                                              <a:latin typeface="Cambria Math" panose="02040503050406030204" pitchFamily="18" charset="0"/>
                                            </a:rPr>
                                            <m:t>−</m:t>
                                          </m:r>
                                          <m:sSub>
                                            <m:sSubPr>
                                              <m:ctrlPr>
                                                <a:rPr lang="ja-JP" altLang="en-US" b="1" i="1">
                                                  <a:latin typeface="Cambria Math" panose="02040503050406030204" pitchFamily="18" charset="0"/>
                                                </a:rPr>
                                              </m:ctrlPr>
                                            </m:sSubPr>
                                            <m:e>
                                              <m:r>
                                                <a:rPr lang="ja-JP" altLang="en-US" b="1" i="1">
                                                  <a:latin typeface="Cambria Math" panose="02040503050406030204" pitchFamily="18" charset="0"/>
                                                </a:rPr>
                                                <m:t>𝒓</m:t>
                                              </m:r>
                                            </m:e>
                                            <m:sub>
                                              <m:r>
                                                <a:rPr lang="ja-JP" altLang="en-US" b="1" i="0">
                                                  <a:latin typeface="Cambria Math" panose="02040503050406030204" pitchFamily="18" charset="0"/>
                                                </a:rPr>
                                                <m:t>𝟎</m:t>
                                              </m:r>
                                            </m:sub>
                                          </m:sSub>
                                        </m:e>
                                      </m:d>
                                    </m:e>
                                    <m:sup>
                                      <m:r>
                                        <a:rPr lang="ja-JP" altLang="en-US" i="0">
                                          <a:latin typeface="Cambria Math" panose="02040503050406030204" pitchFamily="18" charset="0"/>
                                        </a:rPr>
                                        <m:t>2</m:t>
                                      </m:r>
                                    </m:sup>
                                  </m:sSup>
                                </m:num>
                                <m:den>
                                  <m:r>
                                    <a:rPr lang="ja-JP" altLang="en-US" i="0">
                                      <a:latin typeface="Cambria Math" panose="02040503050406030204" pitchFamily="18" charset="0"/>
                                    </a:rPr>
                                    <m:t>4</m:t>
                                  </m:r>
                                  <m:r>
                                    <a:rPr lang="ja-JP" altLang="en-US" i="1">
                                      <a:latin typeface="Cambria Math" panose="02040503050406030204" pitchFamily="18" charset="0"/>
                                    </a:rPr>
                                    <m:t>𝐷𝑡</m:t>
                                  </m:r>
                                </m:den>
                              </m:f>
                            </m:e>
                          </m:d>
                        </m:sup>
                      </m:sSup>
                    </m:oMath>
                  </m:oMathPara>
                </a14:m>
                <a:endParaRPr lang="ja-JP" altLang="en-US"/>
              </a:p>
            </p:txBody>
          </p:sp>
        </mc:Choice>
        <mc:Fallback xmlns="">
          <p:sp>
            <p:nvSpPr>
              <p:cNvPr id="19" name="テキスト ボックス 18">
                <a:extLst>
                  <a:ext uri="{FF2B5EF4-FFF2-40B4-BE49-F238E27FC236}">
                    <a16:creationId xmlns:a16="http://schemas.microsoft.com/office/drawing/2014/main" id="{A7EB4C15-7CAC-EA02-8FF8-2BA5616C016C}"/>
                  </a:ext>
                </a:extLst>
              </p:cNvPr>
              <p:cNvSpPr txBox="1">
                <a:spLocks noRot="1" noChangeAspect="1" noMove="1" noResize="1" noEditPoints="1" noAdjustHandles="1" noChangeArrowheads="1" noChangeShapeType="1" noTextEdit="1"/>
              </p:cNvSpPr>
              <p:nvPr/>
            </p:nvSpPr>
            <p:spPr>
              <a:xfrm>
                <a:off x="4384183" y="4795710"/>
                <a:ext cx="4113783" cy="813749"/>
              </a:xfrm>
              <a:prstGeom prst="rect">
                <a:avLst/>
              </a:prstGeom>
              <a:blipFill>
                <a:blip r:embed="rId5"/>
                <a:stretch>
                  <a:fillRect t="-1538" b="-61538"/>
                </a:stretch>
              </a:blipFill>
              <a:ln>
                <a:noFill/>
              </a:ln>
            </p:spPr>
            <p:txBody>
              <a:bodyPr/>
              <a:lstStyle/>
              <a:p>
                <a:r>
                  <a:rPr lang="ja-JP" altLang="en-US">
                    <a:noFill/>
                  </a:rPr>
                  <a:t> </a:t>
                </a:r>
              </a:p>
            </p:txBody>
          </p:sp>
        </mc:Fallback>
      </mc:AlternateContent>
      <p:sp>
        <p:nvSpPr>
          <p:cNvPr id="25" name="テキスト ボックス 24">
            <a:extLst>
              <a:ext uri="{FF2B5EF4-FFF2-40B4-BE49-F238E27FC236}">
                <a16:creationId xmlns:a16="http://schemas.microsoft.com/office/drawing/2014/main" id="{137CD7C2-9598-9895-A660-D22E6BBA7B2E}"/>
              </a:ext>
            </a:extLst>
          </p:cNvPr>
          <p:cNvSpPr txBox="1"/>
          <p:nvPr/>
        </p:nvSpPr>
        <p:spPr>
          <a:xfrm>
            <a:off x="3144892" y="3910528"/>
            <a:ext cx="3039491" cy="738664"/>
          </a:xfrm>
          <a:prstGeom prst="rect">
            <a:avLst/>
          </a:prstGeom>
          <a:noFill/>
        </p:spPr>
        <p:txBody>
          <a:bodyPr wrap="square">
            <a:spAutoFit/>
          </a:bodyPr>
          <a:lstStyle/>
          <a:p>
            <a:r>
              <a:rPr lang="ja-JP" altLang="ja-JP" sz="1400" b="1"/>
              <a:t>Volcanic ash mass concentration</a:t>
            </a:r>
            <a:r>
              <a:rPr lang="en-US" altLang="ja-JP" sz="1400" b="1" dirty="0"/>
              <a:t> [kg/m</a:t>
            </a:r>
            <a:r>
              <a:rPr lang="en-US" altLang="ja-JP" sz="1400" b="1" baseline="30000" dirty="0"/>
              <a:t>3</a:t>
            </a:r>
            <a:r>
              <a:rPr lang="en-US" altLang="ja-JP" sz="1400" b="1" dirty="0"/>
              <a:t>] </a:t>
            </a:r>
            <a:r>
              <a:rPr lang="en-US" altLang="ja-JP" sz="1400" dirty="0"/>
              <a:t>in the working environment</a:t>
            </a:r>
            <a:r>
              <a:rPr lang="ja-JP" altLang="ja-JP" sz="1400"/>
              <a:t> as a function of space and time.</a:t>
            </a:r>
            <a:endParaRPr lang="ja-JP" altLang="en-US" sz="1400"/>
          </a:p>
        </p:txBody>
      </p:sp>
      <p:sp>
        <p:nvSpPr>
          <p:cNvPr id="26" name="テキスト ボックス 25">
            <a:extLst>
              <a:ext uri="{FF2B5EF4-FFF2-40B4-BE49-F238E27FC236}">
                <a16:creationId xmlns:a16="http://schemas.microsoft.com/office/drawing/2014/main" id="{A48F242A-EEE8-EE17-D08F-466D12BA2E48}"/>
              </a:ext>
            </a:extLst>
          </p:cNvPr>
          <p:cNvSpPr txBox="1"/>
          <p:nvPr/>
        </p:nvSpPr>
        <p:spPr>
          <a:xfrm>
            <a:off x="4960246" y="5949280"/>
            <a:ext cx="2924122" cy="307777"/>
          </a:xfrm>
          <a:prstGeom prst="rect">
            <a:avLst/>
          </a:prstGeom>
          <a:noFill/>
        </p:spPr>
        <p:txBody>
          <a:bodyPr wrap="square">
            <a:spAutoFit/>
          </a:bodyPr>
          <a:lstStyle/>
          <a:p>
            <a:r>
              <a:rPr lang="ja-JP" altLang="ja-JP" sz="1400" b="1"/>
              <a:t>Diffusion coefficient</a:t>
            </a:r>
            <a:r>
              <a:rPr lang="en-US" altLang="ja-JP" sz="1400" b="1" dirty="0"/>
              <a:t> [m</a:t>
            </a:r>
            <a:r>
              <a:rPr lang="en-US" altLang="ja-JP" sz="1400" b="1" baseline="30000" dirty="0"/>
              <a:t>2</a:t>
            </a:r>
            <a:r>
              <a:rPr lang="en-US" altLang="ja-JP" sz="1400" b="1" dirty="0"/>
              <a:t>/s]</a:t>
            </a:r>
            <a:r>
              <a:rPr lang="ja-JP" altLang="ja-JP" sz="1400" b="1"/>
              <a:t> </a:t>
            </a:r>
            <a:r>
              <a:rPr lang="ja-JP" altLang="ja-JP" sz="1400"/>
              <a:t>in air</a:t>
            </a:r>
            <a:endParaRPr lang="ja-JP" altLang="en-US" sz="1400"/>
          </a:p>
        </p:txBody>
      </p:sp>
      <p:sp>
        <p:nvSpPr>
          <p:cNvPr id="27" name="テキスト ボックス 26">
            <a:extLst>
              <a:ext uri="{FF2B5EF4-FFF2-40B4-BE49-F238E27FC236}">
                <a16:creationId xmlns:a16="http://schemas.microsoft.com/office/drawing/2014/main" id="{8B768E54-11BB-FDA5-5BD1-E37C1F9B7CF2}"/>
              </a:ext>
            </a:extLst>
          </p:cNvPr>
          <p:cNvSpPr txBox="1"/>
          <p:nvPr/>
        </p:nvSpPr>
        <p:spPr>
          <a:xfrm>
            <a:off x="6499919" y="3910528"/>
            <a:ext cx="2657691" cy="738664"/>
          </a:xfrm>
          <a:prstGeom prst="rect">
            <a:avLst/>
          </a:prstGeom>
          <a:noFill/>
        </p:spPr>
        <p:txBody>
          <a:bodyPr wrap="square">
            <a:spAutoFit/>
          </a:bodyPr>
          <a:lstStyle/>
          <a:p>
            <a:r>
              <a:rPr lang="ja-JP" altLang="ja-JP" sz="1400" b="1"/>
              <a:t>Total ash mass </a:t>
            </a:r>
            <a:r>
              <a:rPr lang="en-US" altLang="ja-JP" sz="1400" b="1" dirty="0"/>
              <a:t>[kg] </a:t>
            </a:r>
            <a:r>
              <a:rPr lang="ja-JP" altLang="ja-JP" sz="1400"/>
              <a:t>released instantaneously when the old filter is removed in Task 2.</a:t>
            </a:r>
          </a:p>
        </p:txBody>
      </p:sp>
      <p:cxnSp>
        <p:nvCxnSpPr>
          <p:cNvPr id="29" name="直線矢印コネクタ 28">
            <a:extLst>
              <a:ext uri="{FF2B5EF4-FFF2-40B4-BE49-F238E27FC236}">
                <a16:creationId xmlns:a16="http://schemas.microsoft.com/office/drawing/2014/main" id="{2FF55CAE-4A2B-A441-8917-40EC14E425F9}"/>
              </a:ext>
            </a:extLst>
          </p:cNvPr>
          <p:cNvCxnSpPr>
            <a:cxnSpLocks/>
          </p:cNvCxnSpPr>
          <p:nvPr/>
        </p:nvCxnSpPr>
        <p:spPr>
          <a:xfrm>
            <a:off x="4857706" y="4649192"/>
            <a:ext cx="246557" cy="4040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2133173D-1F96-5165-90B9-99669A40FD07}"/>
              </a:ext>
            </a:extLst>
          </p:cNvPr>
          <p:cNvCxnSpPr>
            <a:cxnSpLocks/>
          </p:cNvCxnSpPr>
          <p:nvPr/>
        </p:nvCxnSpPr>
        <p:spPr>
          <a:xfrm flipH="1">
            <a:off x="6423686" y="4649192"/>
            <a:ext cx="269452" cy="2982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4A17EC78-E64A-7CD5-1107-C56424B322AA}"/>
              </a:ext>
            </a:extLst>
          </p:cNvPr>
          <p:cNvCxnSpPr>
            <a:cxnSpLocks/>
          </p:cNvCxnSpPr>
          <p:nvPr/>
        </p:nvCxnSpPr>
        <p:spPr>
          <a:xfrm flipV="1">
            <a:off x="6184383" y="5500072"/>
            <a:ext cx="104709" cy="4554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662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6F224-0561-D24A-87F3-EFE7B671586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690A6E8-346E-9418-90C5-6DDC1AB7B73D}"/>
              </a:ext>
            </a:extLst>
          </p:cNvPr>
          <p:cNvSpPr>
            <a:spLocks noGrp="1"/>
          </p:cNvSpPr>
          <p:nvPr>
            <p:ph type="title"/>
          </p:nvPr>
        </p:nvSpPr>
        <p:spPr>
          <a:xfrm>
            <a:off x="374496" y="332656"/>
            <a:ext cx="8769504" cy="779116"/>
          </a:xfrm>
        </p:spPr>
        <p:txBody>
          <a:bodyPr/>
          <a:lstStyle/>
          <a:p>
            <a:pPr algn="l"/>
            <a:r>
              <a:rPr lang="en-US" altLang="ja-JP" dirty="0"/>
              <a:t>Scenario-Specific Adaptation </a:t>
            </a:r>
            <a:r>
              <a:rPr lang="en-US" altLang="zh-TW" sz="1800" dirty="0">
                <a:cs typeface="Calibri" panose="020F0502020204030204" pitchFamily="34" charset="0"/>
              </a:rPr>
              <a:t>—</a:t>
            </a:r>
            <a:r>
              <a:rPr lang="en-US" altLang="ja-JP" sz="1800" dirty="0"/>
              <a:t> Dynamic Environment to HEP (1/2) </a:t>
            </a:r>
            <a:r>
              <a:rPr lang="en-US" altLang="zh-TW" sz="1800" dirty="0">
                <a:cs typeface="Calibri" panose="020F0502020204030204" pitchFamily="34" charset="0"/>
              </a:rPr>
              <a:t>—</a:t>
            </a:r>
            <a:endParaRPr kumimoji="1" lang="ja-JP" altLang="en-US" sz="1800" dirty="0"/>
          </a:p>
        </p:txBody>
      </p:sp>
      <p:sp>
        <p:nvSpPr>
          <p:cNvPr id="91" name="テキスト プレースホルダー 5">
            <a:extLst>
              <a:ext uri="{FF2B5EF4-FFF2-40B4-BE49-F238E27FC236}">
                <a16:creationId xmlns:a16="http://schemas.microsoft.com/office/drawing/2014/main" id="{72769FB4-31F8-9FE3-8C37-4B86F1BF77F6}"/>
              </a:ext>
            </a:extLst>
          </p:cNvPr>
          <p:cNvSpPr txBox="1">
            <a:spLocks/>
          </p:cNvSpPr>
          <p:nvPr/>
        </p:nvSpPr>
        <p:spPr>
          <a:xfrm>
            <a:off x="-34783" y="2696121"/>
            <a:ext cx="6696744"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PIF List for Task1&amp;2 (Excerpt) </a:t>
            </a:r>
          </a:p>
        </p:txBody>
      </p:sp>
      <p:cxnSp>
        <p:nvCxnSpPr>
          <p:cNvPr id="92" name="直線コネクタ 91">
            <a:extLst>
              <a:ext uri="{FF2B5EF4-FFF2-40B4-BE49-F238E27FC236}">
                <a16:creationId xmlns:a16="http://schemas.microsoft.com/office/drawing/2014/main" id="{B750D43C-5267-0707-6FF2-EA3A15189994}"/>
              </a:ext>
            </a:extLst>
          </p:cNvPr>
          <p:cNvCxnSpPr>
            <a:cxnSpLocks/>
          </p:cNvCxnSpPr>
          <p:nvPr/>
        </p:nvCxnSpPr>
        <p:spPr>
          <a:xfrm>
            <a:off x="379297" y="3032633"/>
            <a:ext cx="8353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8" name="コンテンツ プレースホルダー 4">
                <a:extLst>
                  <a:ext uri="{FF2B5EF4-FFF2-40B4-BE49-F238E27FC236}">
                    <a16:creationId xmlns:a16="http://schemas.microsoft.com/office/drawing/2014/main" id="{DAB0A2DF-9E32-8E25-FA18-1B23154EA51B}"/>
                  </a:ext>
                </a:extLst>
              </p:cNvPr>
              <p:cNvSpPr txBox="1">
                <a:spLocks/>
              </p:cNvSpPr>
              <p:nvPr/>
            </p:nvSpPr>
            <p:spPr bwMode="auto">
              <a:xfrm>
                <a:off x="234339" y="1148152"/>
                <a:ext cx="8730587" cy="1416752"/>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en-US" altLang="ja-JP" b="1" dirty="0"/>
                  <a:t>Firstly, </a:t>
                </a:r>
                <a:r>
                  <a:rPr lang="en-US" altLang="ja-JP" b="1" dirty="0">
                    <a:highlight>
                      <a:srgbClr val="FFFF00"/>
                    </a:highlight>
                  </a:rPr>
                  <a:t>HEP Formulation </a:t>
                </a:r>
                <a:r>
                  <a:rPr lang="en-US" altLang="ja-JP" b="1" dirty="0"/>
                  <a:t>Using IDHEAS-ECA:</a:t>
                </a:r>
              </a:p>
              <a:p>
                <a:pPr lvl="1"/>
                <a:r>
                  <a:rPr lang="ja-JP" altLang="ja-JP" sz="1400"/>
                  <a:t>Only </a:t>
                </a:r>
                <a14:m>
                  <m:oMath xmlns:m="http://schemas.openxmlformats.org/officeDocument/2006/math">
                    <m:sSub>
                      <m:sSubPr>
                        <m:ctrlPr>
                          <a:rPr lang="ja-JP" altLang="en-US" sz="1400" b="1" i="1">
                            <a:latin typeface="Cambria Math" panose="02040503050406030204" pitchFamily="18" charset="0"/>
                          </a:rPr>
                        </m:ctrlPr>
                      </m:sSubPr>
                      <m:e>
                        <m:r>
                          <a:rPr lang="ja-JP" altLang="en-US" sz="1400" b="1" i="1">
                            <a:latin typeface="Cambria Math" panose="02040503050406030204" pitchFamily="18" charset="0"/>
                          </a:rPr>
                          <m:t>𝑷</m:t>
                        </m:r>
                      </m:e>
                      <m:sub>
                        <m:r>
                          <a:rPr lang="ja-JP" altLang="en-US" sz="1400" b="1" i="1">
                            <a:latin typeface="Cambria Math" panose="02040503050406030204" pitchFamily="18" charset="0"/>
                          </a:rPr>
                          <m:t>𝒄</m:t>
                        </m:r>
                      </m:sub>
                    </m:sSub>
                  </m:oMath>
                </a14:m>
                <a:r>
                  <a:rPr lang="en-US" altLang="ja-JP" sz="1400" dirty="0"/>
                  <a:t> </a:t>
                </a:r>
                <a:r>
                  <a:rPr lang="ja-JP" altLang="ja-JP" sz="1400"/>
                  <a:t>is considered, while </a:t>
                </a:r>
                <a14:m>
                  <m:oMath xmlns:m="http://schemas.openxmlformats.org/officeDocument/2006/math">
                    <m:sSub>
                      <m:sSubPr>
                        <m:ctrlPr>
                          <a:rPr lang="ja-JP" altLang="en-US" sz="1400" b="1" i="1">
                            <a:latin typeface="Cambria Math" panose="02040503050406030204" pitchFamily="18" charset="0"/>
                          </a:rPr>
                        </m:ctrlPr>
                      </m:sSubPr>
                      <m:e>
                        <m:r>
                          <a:rPr lang="ja-JP" altLang="en-US" sz="1400" b="1" i="1">
                            <a:latin typeface="Cambria Math" panose="02040503050406030204" pitchFamily="18" charset="0"/>
                          </a:rPr>
                          <m:t>𝑷</m:t>
                        </m:r>
                      </m:e>
                      <m:sub>
                        <m:r>
                          <a:rPr lang="ja-JP" altLang="en-US" sz="1400" b="1" i="1">
                            <a:latin typeface="Cambria Math" panose="02040503050406030204" pitchFamily="18" charset="0"/>
                          </a:rPr>
                          <m:t>𝒕</m:t>
                        </m:r>
                      </m:sub>
                    </m:sSub>
                  </m:oMath>
                </a14:m>
                <a:r>
                  <a:rPr lang="en-US" altLang="ja-JP" sz="1400" dirty="0"/>
                  <a:t> </a:t>
                </a:r>
                <a:r>
                  <a:rPr lang="ja-JP" altLang="ja-JP" sz="1400"/>
                  <a:t>is excluded, because the HEP in this study represents the </a:t>
                </a:r>
                <a:r>
                  <a:rPr lang="ja-JP" altLang="ja-JP" sz="1400" u="sng"/>
                  <a:t>success or failure outcome upon task completion </a:t>
                </a:r>
                <a:r>
                  <a:rPr lang="ja-JP" altLang="ja-JP" sz="1400"/>
                  <a:t>rather than a time-related failure. </a:t>
                </a:r>
              </a:p>
              <a:p>
                <a:pPr lvl="1"/>
                <a:r>
                  <a:rPr lang="ja-JP" altLang="ja-JP" sz="1400"/>
                  <a:t>Among the cognitive failure modes, only </a:t>
                </a:r>
                <a:r>
                  <a:rPr lang="ja-JP" altLang="ja-JP" sz="1400" b="1"/>
                  <a:t>CFM4 (Action Execution)</a:t>
                </a:r>
                <a:r>
                  <a:rPr lang="ja-JP" altLang="ja-JP" sz="1400"/>
                  <a:t> is included. </a:t>
                </a:r>
              </a:p>
              <a:p>
                <a:pPr lvl="1"/>
                <a:r>
                  <a:rPr lang="ja-JP" altLang="ja-JP" sz="1400"/>
                  <a:t>Within the PIF set, the </a:t>
                </a:r>
                <a:r>
                  <a:rPr lang="ja-JP" altLang="ja-JP" sz="1400" b="1"/>
                  <a:t>Environmental PIF (ENV)</a:t>
                </a:r>
                <a:r>
                  <a:rPr lang="ja-JP" altLang="ja-JP" sz="1400"/>
                  <a:t> is treated as a dynamic, time-varying variable.</a:t>
                </a:r>
              </a:p>
              <a:p>
                <a:pPr lvl="1"/>
                <a:endParaRPr lang="en-US" altLang="ja-JP" dirty="0"/>
              </a:p>
              <a:p>
                <a:pPr lvl="1"/>
                <a:endParaRPr lang="en-US" altLang="ja-JP" dirty="0"/>
              </a:p>
            </p:txBody>
          </p:sp>
        </mc:Choice>
        <mc:Fallback xmlns="">
          <p:sp>
            <p:nvSpPr>
              <p:cNvPr id="38" name="コンテンツ プレースホルダー 4">
                <a:extLst>
                  <a:ext uri="{FF2B5EF4-FFF2-40B4-BE49-F238E27FC236}">
                    <a16:creationId xmlns:a16="http://schemas.microsoft.com/office/drawing/2014/main" id="{DAB0A2DF-9E32-8E25-FA18-1B23154EA51B}"/>
                  </a:ext>
                </a:extLst>
              </p:cNvPr>
              <p:cNvSpPr txBox="1">
                <a:spLocks noRot="1" noChangeAspect="1" noMove="1" noResize="1" noEditPoints="1" noAdjustHandles="1" noChangeArrowheads="1" noChangeShapeType="1" noTextEdit="1"/>
              </p:cNvSpPr>
              <p:nvPr/>
            </p:nvSpPr>
            <p:spPr bwMode="auto">
              <a:xfrm>
                <a:off x="234339" y="1148152"/>
                <a:ext cx="8730587" cy="1416752"/>
              </a:xfrm>
              <a:prstGeom prst="rect">
                <a:avLst/>
              </a:prstGeom>
              <a:blipFill>
                <a:blip r:embed="rId3"/>
                <a:stretch>
                  <a:fillRect l="-290" t="-1770"/>
                </a:stretch>
              </a:blipFill>
              <a:ln w="9525">
                <a:noFill/>
                <a:miter lim="800000"/>
                <a:headEnd/>
                <a:tailEnd/>
              </a:ln>
            </p:spPr>
            <p:txBody>
              <a:bodyPr/>
              <a:lstStyle/>
              <a:p>
                <a:r>
                  <a:rPr lang="ja-JP" altLang="en-US">
                    <a:noFill/>
                  </a:rPr>
                  <a:t> </a:t>
                </a:r>
              </a:p>
            </p:txBody>
          </p:sp>
        </mc:Fallback>
      </mc:AlternateContent>
      <p:pic>
        <p:nvPicPr>
          <p:cNvPr id="5" name="図 4">
            <a:extLst>
              <a:ext uri="{FF2B5EF4-FFF2-40B4-BE49-F238E27FC236}">
                <a16:creationId xmlns:a16="http://schemas.microsoft.com/office/drawing/2014/main" id="{4C509E76-33E7-60B0-F21C-EC8F121DDBE7}"/>
              </a:ext>
            </a:extLst>
          </p:cNvPr>
          <p:cNvPicPr>
            <a:picLocks noChangeAspect="1"/>
          </p:cNvPicPr>
          <p:nvPr/>
        </p:nvPicPr>
        <p:blipFill>
          <a:blip r:embed="rId4"/>
          <a:stretch>
            <a:fillRect/>
          </a:stretch>
        </p:blipFill>
        <p:spPr>
          <a:xfrm>
            <a:off x="5654355" y="14374737"/>
            <a:ext cx="13098837" cy="7100948"/>
          </a:xfrm>
          <a:prstGeom prst="rect">
            <a:avLst/>
          </a:prstGeom>
        </p:spPr>
      </p:pic>
      <p:pic>
        <p:nvPicPr>
          <p:cNvPr id="6" name="図 5">
            <a:extLst>
              <a:ext uri="{FF2B5EF4-FFF2-40B4-BE49-F238E27FC236}">
                <a16:creationId xmlns:a16="http://schemas.microsoft.com/office/drawing/2014/main" id="{D2C44E7F-5BD1-87C6-FC47-7534C841903A}"/>
              </a:ext>
            </a:extLst>
          </p:cNvPr>
          <p:cNvPicPr>
            <a:picLocks noChangeAspect="1"/>
          </p:cNvPicPr>
          <p:nvPr/>
        </p:nvPicPr>
        <p:blipFill>
          <a:blip r:embed="rId5"/>
          <a:stretch>
            <a:fillRect/>
          </a:stretch>
        </p:blipFill>
        <p:spPr>
          <a:xfrm>
            <a:off x="18773400" y="9405664"/>
            <a:ext cx="15978969" cy="8837924"/>
          </a:xfrm>
          <a:prstGeom prst="rect">
            <a:avLst/>
          </a:prstGeom>
        </p:spPr>
      </p:pic>
      <p:graphicFrame>
        <p:nvGraphicFramePr>
          <p:cNvPr id="8" name="表 7">
            <a:extLst>
              <a:ext uri="{FF2B5EF4-FFF2-40B4-BE49-F238E27FC236}">
                <a16:creationId xmlns:a16="http://schemas.microsoft.com/office/drawing/2014/main" id="{157E83B2-2D12-9B49-6269-FF9118B6A4D8}"/>
              </a:ext>
            </a:extLst>
          </p:cNvPr>
          <p:cNvGraphicFramePr>
            <a:graphicFrameLocks noGrp="1"/>
          </p:cNvGraphicFramePr>
          <p:nvPr>
            <p:extLst>
              <p:ext uri="{D42A27DB-BD31-4B8C-83A1-F6EECF244321}">
                <p14:modId xmlns:p14="http://schemas.microsoft.com/office/powerpoint/2010/main" val="3222275037"/>
              </p:ext>
            </p:extLst>
          </p:nvPr>
        </p:nvGraphicFramePr>
        <p:xfrm>
          <a:off x="234339" y="3070630"/>
          <a:ext cx="8532440" cy="2822696"/>
        </p:xfrm>
        <a:graphic>
          <a:graphicData uri="http://schemas.openxmlformats.org/drawingml/2006/table">
            <a:tbl>
              <a:tblPr firstRow="1" bandRow="1">
                <a:tableStyleId>{5C22544A-7EE6-4342-B048-85BDC9FD1C3A}</a:tableStyleId>
              </a:tblPr>
              <a:tblGrid>
                <a:gridCol w="1745940">
                  <a:extLst>
                    <a:ext uri="{9D8B030D-6E8A-4147-A177-3AD203B41FA5}">
                      <a16:colId xmlns:a16="http://schemas.microsoft.com/office/drawing/2014/main" val="1805656779"/>
                    </a:ext>
                  </a:extLst>
                </a:gridCol>
                <a:gridCol w="3167158">
                  <a:extLst>
                    <a:ext uri="{9D8B030D-6E8A-4147-A177-3AD203B41FA5}">
                      <a16:colId xmlns:a16="http://schemas.microsoft.com/office/drawing/2014/main" val="2144489718"/>
                    </a:ext>
                  </a:extLst>
                </a:gridCol>
                <a:gridCol w="3619342">
                  <a:extLst>
                    <a:ext uri="{9D8B030D-6E8A-4147-A177-3AD203B41FA5}">
                      <a16:colId xmlns:a16="http://schemas.microsoft.com/office/drawing/2014/main" val="1678252277"/>
                    </a:ext>
                  </a:extLst>
                </a:gridCol>
              </a:tblGrid>
              <a:tr h="432048">
                <a:tc>
                  <a:txBody>
                    <a:bodyPr/>
                    <a:lstStyle/>
                    <a:p>
                      <a:r>
                        <a:rPr kumimoji="1" lang="en-US" altLang="ja-JP" dirty="0">
                          <a:solidFill>
                            <a:schemeClr val="tx1"/>
                          </a:solidFill>
                        </a:rPr>
                        <a:t>PIFs</a:t>
                      </a:r>
                      <a:endParaRPr kumimoji="1" lang="ja-JP" altLang="en-US">
                        <a:solidFill>
                          <a:schemeClr val="tx1"/>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kumimoji="1" lang="en-US" altLang="ja-JP" dirty="0">
                          <a:solidFill>
                            <a:schemeClr val="tx1"/>
                          </a:solidFill>
                        </a:rPr>
                        <a:t>Task1 (Pre-replacement)</a:t>
                      </a:r>
                      <a:endParaRPr kumimoji="1" lang="ja-JP" altLang="en-US">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r>
                        <a:rPr kumimoji="1" lang="en-US" altLang="ja-JP" dirty="0">
                          <a:solidFill>
                            <a:schemeClr val="tx1"/>
                          </a:solidFill>
                        </a:rPr>
                        <a:t>Task2 (Installation)</a:t>
                      </a:r>
                      <a:endParaRPr kumimoji="1" lang="ja-JP" altLang="en-US">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8779667"/>
                  </a:ext>
                </a:extLst>
              </a:tr>
              <a:tr h="370840">
                <a:tc>
                  <a:txBody>
                    <a:bodyPr/>
                    <a:lstStyle/>
                    <a:p>
                      <a:r>
                        <a:rPr kumimoji="1" lang="en-US" altLang="ja-JP" dirty="0"/>
                        <a:t>Scenario Familiarity</a:t>
                      </a:r>
                      <a:endParaRPr kumimoji="1" lang="ja-JP" altLang="en-US"/>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ja-JP" altLang="ja-JP" b="1"/>
                        <a:t>SF0 (Base HEP = 0).</a:t>
                      </a:r>
                      <a:br>
                        <a:rPr lang="ja-JP" altLang="ja-JP"/>
                      </a:br>
                      <a:r>
                        <a:rPr lang="ja-JP" altLang="ja-JP"/>
                        <a:t>Professionally trained</a:t>
                      </a:r>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ja-JP" altLang="ja-JP" b="1"/>
                        <a:t>SF0 (Base HEP = 0)</a:t>
                      </a:r>
                      <a:br>
                        <a:rPr lang="en-US" altLang="ja-JP" b="1" dirty="0"/>
                      </a:br>
                      <a:r>
                        <a:rPr lang="en-US" altLang="ja-JP" b="0" dirty="0"/>
                        <a:t>The same</a:t>
                      </a:r>
                      <a:endParaRPr kumimoji="1" lang="ja-JP" altLang="en-US" b="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3389020"/>
                  </a:ext>
                </a:extLst>
              </a:tr>
              <a:tr h="370840">
                <a:tc>
                  <a:txBody>
                    <a:bodyPr/>
                    <a:lstStyle/>
                    <a:p>
                      <a:r>
                        <a:rPr kumimoji="1" lang="en" altLang="ja-JP" dirty="0"/>
                        <a:t>Task Complexity</a:t>
                      </a:r>
                      <a:endParaRPr kumimoji="1" lang="ja-JP" altLang="en-US"/>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ja-JP" altLang="ja-JP" b="1"/>
                        <a:t>C30 (Base HEP = 0).</a:t>
                      </a:r>
                      <a:br>
                        <a:rPr lang="ja-JP" altLang="ja-JP"/>
                      </a:br>
                      <a:r>
                        <a:rPr lang="ja-JP" altLang="ja-JP"/>
                        <a:t>Short, linear execution path.</a:t>
                      </a:r>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ja-JP" altLang="ja-JP" b="1"/>
                        <a:t>C31 (Base HEP = 1E-3).</a:t>
                      </a:r>
                      <a:br>
                        <a:rPr lang="ja-JP" altLang="ja-JP"/>
                      </a:br>
                      <a:r>
                        <a:rPr lang="ja-JP" altLang="ja-JP"/>
                        <a:t>More complex </a:t>
                      </a:r>
                      <a:r>
                        <a:rPr lang="en-US" altLang="ja-JP" dirty="0"/>
                        <a:t>steps</a:t>
                      </a:r>
                      <a:r>
                        <a:rPr lang="ja-JP" altLang="ja-JP"/>
                        <a:t>.</a:t>
                      </a:r>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2956864"/>
                  </a:ext>
                </a:extLst>
              </a:tr>
              <a:tr h="370840">
                <a:tc>
                  <a:txBody>
                    <a:bodyPr/>
                    <a:lstStyle/>
                    <a:p>
                      <a:r>
                        <a:rPr kumimoji="1" lang="en-GB" altLang="ja-JP" sz="1661" kern="1200" dirty="0">
                          <a:solidFill>
                            <a:schemeClr val="dk1"/>
                          </a:solidFill>
                          <a:effectLst/>
                          <a:latin typeface="+mn-lt"/>
                          <a:ea typeface="+mn-ea"/>
                          <a:cs typeface="+mn-cs"/>
                        </a:rPr>
                        <a:t>Physical Demands</a:t>
                      </a:r>
                      <a:r>
                        <a:rPr lang="ja-JP" altLang="ja-JP">
                          <a:effectLst/>
                        </a:rPr>
                        <a:t> </a:t>
                      </a:r>
                      <a:endParaRPr kumimoji="1" lang="ja-JP" altLang="en-US"/>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GB" altLang="ja-JP" sz="1661" b="1" kern="1200" dirty="0">
                          <a:solidFill>
                            <a:schemeClr val="dk1"/>
                          </a:solidFill>
                          <a:latin typeface="+mn-lt"/>
                          <a:ea typeface="+mn-ea"/>
                          <a:cs typeface="+mn-cs"/>
                        </a:rPr>
                        <a:t>PD0 (w = 1)</a:t>
                      </a:r>
                      <a:r>
                        <a:rPr kumimoji="1" lang="ja-JP" altLang="ja-JP" sz="1661" b="1" kern="1200">
                          <a:solidFill>
                            <a:schemeClr val="dk1"/>
                          </a:solidFill>
                          <a:latin typeface="+mn-lt"/>
                          <a:ea typeface="+mn-ea"/>
                          <a:cs typeface="+mn-cs"/>
                        </a:rPr>
                        <a:t> </a:t>
                      </a:r>
                      <a:endParaRPr kumimoji="1" lang="ja-JP" altLang="en-US" sz="1661" b="1"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GB" altLang="ja-JP" sz="1661" b="1" kern="1200" dirty="0">
                          <a:solidFill>
                            <a:schemeClr val="dk1"/>
                          </a:solidFill>
                          <a:latin typeface="+mn-lt"/>
                          <a:ea typeface="+mn-ea"/>
                          <a:cs typeface="+mn-cs"/>
                        </a:rPr>
                        <a:t>PD2 (w = 2)</a:t>
                      </a:r>
                      <a:r>
                        <a:rPr kumimoji="1" lang="ja-JP" altLang="ja-JP" sz="1661" b="1" kern="1200">
                          <a:solidFill>
                            <a:schemeClr val="dk1"/>
                          </a:solidFill>
                          <a:latin typeface="+mn-lt"/>
                          <a:ea typeface="+mn-ea"/>
                          <a:cs typeface="+mn-cs"/>
                        </a:rPr>
                        <a:t> </a:t>
                      </a:r>
                      <a:br>
                        <a:rPr kumimoji="1" lang="en-US" altLang="ja-JP" sz="1661" b="1" kern="1200" dirty="0">
                          <a:solidFill>
                            <a:schemeClr val="dk1"/>
                          </a:solidFill>
                          <a:latin typeface="+mn-lt"/>
                          <a:ea typeface="+mn-ea"/>
                          <a:cs typeface="+mn-cs"/>
                        </a:rPr>
                      </a:br>
                      <a:r>
                        <a:rPr kumimoji="1" lang="en-US" altLang="ja-JP" sz="1661" b="0" kern="1200" dirty="0">
                          <a:solidFill>
                            <a:schemeClr val="dk1"/>
                          </a:solidFill>
                          <a:latin typeface="+mn-lt"/>
                          <a:ea typeface="+mn-ea"/>
                          <a:cs typeface="+mn-cs"/>
                        </a:rPr>
                        <a:t>Filter is heavier.</a:t>
                      </a:r>
                      <a:endParaRPr kumimoji="1" lang="ja-JP" altLang="en-US" sz="1661" b="0"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8514994"/>
                  </a:ext>
                </a:extLst>
              </a:tr>
              <a:tr h="370840">
                <a:tc>
                  <a:txBody>
                    <a:bodyPr/>
                    <a:lstStyle/>
                    <a:p>
                      <a:r>
                        <a:rPr kumimoji="1" lang="en" altLang="ja-JP" dirty="0"/>
                        <a:t>Environmental PIFs</a:t>
                      </a:r>
                      <a:endParaRPr kumimoji="1" lang="ja-JP" altLang="en-US"/>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60000"/>
                        <a:lumOff val="40000"/>
                      </a:schemeClr>
                    </a:solidFill>
                  </a:tcPr>
                </a:tc>
                <a:tc gridSpan="2">
                  <a:txBody>
                    <a:bodyPr/>
                    <a:lstStyle/>
                    <a:p>
                      <a:r>
                        <a:rPr lang="ja-JP" altLang="ja-JP" b="1"/>
                        <a:t>Dynamic Variable.</a:t>
                      </a:r>
                      <a:br>
                        <a:rPr lang="ja-JP" altLang="ja-JP"/>
                      </a:br>
                      <a:r>
                        <a:rPr lang="ja-JP" altLang="ja-JP"/>
                        <a:t>If visibility ≤ 1m: ENV6</a:t>
                      </a:r>
                      <a:r>
                        <a:rPr lang="en-US" altLang="ja-JP" dirty="0"/>
                        <a:t> (w=5)</a:t>
                      </a:r>
                      <a:r>
                        <a:rPr lang="ja-JP" altLang="ja-JP"/>
                        <a:t> penalty.</a:t>
                      </a:r>
                      <a:r>
                        <a:rPr lang="en-US" altLang="ja-JP" dirty="0"/>
                        <a:t>  </a:t>
                      </a:r>
                      <a:r>
                        <a:rPr lang="ja-JP" altLang="ja-JP"/>
                        <a:t>If ≥ 6m: ENV0</a:t>
                      </a:r>
                      <a:r>
                        <a:rPr lang="en-US" altLang="ja-JP" dirty="0"/>
                        <a:t> (w=1)</a:t>
                      </a:r>
                      <a:r>
                        <a:rPr lang="ja-JP" altLang="ja-JP"/>
                        <a:t>.</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60000"/>
                        <a:lumOff val="40000"/>
                      </a:schemeClr>
                    </a:solidFill>
                  </a:tcPr>
                </a:tc>
                <a:tc hMerge="1">
                  <a:txBody>
                    <a:bodyPr/>
                    <a:lstStyle/>
                    <a:p>
                      <a:endParaRPr dirty="0"/>
                    </a:p>
                  </a:txBody>
                  <a:tcPr/>
                </a:tc>
                <a:extLst>
                  <a:ext uri="{0D108BD9-81ED-4DB2-BD59-A6C34878D82A}">
                    <a16:rowId xmlns:a16="http://schemas.microsoft.com/office/drawing/2014/main" val="2127972048"/>
                  </a:ext>
                </a:extLst>
              </a:tr>
            </a:tbl>
          </a:graphicData>
        </a:graphic>
      </p:graphicFrame>
      <mc:AlternateContent xmlns:mc="http://schemas.openxmlformats.org/markup-compatibility/2006" xmlns:a14="http://schemas.microsoft.com/office/drawing/2010/main">
        <mc:Choice Requires="a14">
          <p:sp>
            <p:nvSpPr>
              <p:cNvPr id="9" name="テキスト ボックス 8">
                <a:extLst>
                  <a:ext uri="{FF2B5EF4-FFF2-40B4-BE49-F238E27FC236}">
                    <a16:creationId xmlns:a16="http://schemas.microsoft.com/office/drawing/2014/main" id="{D4BE5F85-B01D-3274-6056-58F096AAAC08}"/>
                  </a:ext>
                </a:extLst>
              </p:cNvPr>
              <p:cNvSpPr txBox="1"/>
              <p:nvPr/>
            </p:nvSpPr>
            <p:spPr>
              <a:xfrm>
                <a:off x="1155132" y="6116450"/>
                <a:ext cx="4182962" cy="4088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i="1">
                              <a:latin typeface="Cambria Math" panose="02040503050406030204" pitchFamily="18" charset="0"/>
                            </a:rPr>
                          </m:ctrlPr>
                        </m:sSubSupPr>
                        <m:e>
                          <m:r>
                            <a:rPr lang="ja-JP" altLang="en-US" i="1">
                              <a:latin typeface="Cambria Math" panose="02040503050406030204" pitchFamily="18" charset="0"/>
                            </a:rPr>
                            <m:t>𝐻𝐸𝑃</m:t>
                          </m:r>
                        </m:e>
                        <m:sub>
                          <m:r>
                            <a:rPr lang="ja-JP" altLang="en-US" i="1">
                              <a:latin typeface="Cambria Math" panose="02040503050406030204" pitchFamily="18" charset="0"/>
                            </a:rPr>
                            <m:t>𝑡𝑎𝑠𝑘</m:t>
                          </m:r>
                          <m:r>
                            <a:rPr lang="ja-JP" altLang="en-US" i="0">
                              <a:latin typeface="Cambria Math" panose="02040503050406030204" pitchFamily="18" charset="0"/>
                            </a:rPr>
                            <m:t>1</m:t>
                          </m:r>
                        </m:sub>
                        <m:sup/>
                      </m:sSubSup>
                      <m:r>
                        <a:rPr lang="ja-JP" altLang="en-US" i="0">
                          <a:latin typeface="Cambria Math" panose="02040503050406030204" pitchFamily="18" charset="0"/>
                        </a:rPr>
                        <m:t>=</m:t>
                      </m:r>
                      <m:r>
                        <a:rPr lang="en" altLang="ja-JP" i="1">
                          <a:latin typeface="Cambria Math" panose="02040503050406030204" pitchFamily="18" charset="0"/>
                        </a:rPr>
                        <m:t>1.00</m:t>
                      </m:r>
                      <m:r>
                        <a:rPr lang="en" altLang="ja-JP" i="1">
                          <a:latin typeface="Cambria Math" panose="02040503050406030204" pitchFamily="18" charset="0"/>
                        </a:rPr>
                        <m:t>𝐸</m:t>
                      </m:r>
                      <m:r>
                        <a:rPr lang="en" altLang="ja-JP" i="1">
                          <a:latin typeface="Cambria Math" panose="02040503050406030204" pitchFamily="18" charset="0"/>
                        </a:rPr>
                        <m:t>−04[</m:t>
                      </m:r>
                      <m:sSubSup>
                        <m:sSubSupPr>
                          <m:ctrlPr>
                            <a:rPr lang="ja-JP" altLang="en-US" i="1">
                              <a:solidFill>
                                <a:srgbClr val="C00000"/>
                              </a:solidFill>
                              <a:latin typeface="Cambria Math" panose="02040503050406030204" pitchFamily="18" charset="0"/>
                            </a:rPr>
                          </m:ctrlPr>
                        </m:sSubSupPr>
                        <m:e>
                          <m:r>
                            <a:rPr lang="ja-JP" altLang="en-US" i="1">
                              <a:solidFill>
                                <a:srgbClr val="C00000"/>
                              </a:solidFill>
                              <a:latin typeface="Cambria Math" panose="02040503050406030204" pitchFamily="18" charset="0"/>
                            </a:rPr>
                            <m:t>𝑃𝐼𝐹</m:t>
                          </m:r>
                        </m:e>
                        <m:sub>
                          <m:r>
                            <a:rPr lang="ja-JP" altLang="en-US" i="1">
                              <a:solidFill>
                                <a:srgbClr val="C00000"/>
                              </a:solidFill>
                              <a:latin typeface="Cambria Math" panose="02040503050406030204" pitchFamily="18" charset="0"/>
                            </a:rPr>
                            <m:t>𝐸𝑁𝑉</m:t>
                          </m:r>
                        </m:sub>
                        <m:sup/>
                      </m:sSubSup>
                      <m:r>
                        <a:rPr lang="ja-JP" altLang="en-US" i="0">
                          <a:latin typeface="Cambria Math" panose="02040503050406030204" pitchFamily="18" charset="0"/>
                        </a:rPr>
                        <m:t>]</m:t>
                      </m:r>
                    </m:oMath>
                  </m:oMathPara>
                </a14:m>
                <a:endParaRPr lang="ja-JP" altLang="en-US"/>
              </a:p>
            </p:txBody>
          </p:sp>
        </mc:Choice>
        <mc:Fallback xmlns="">
          <p:sp>
            <p:nvSpPr>
              <p:cNvPr id="9" name="テキスト ボックス 8">
                <a:extLst>
                  <a:ext uri="{FF2B5EF4-FFF2-40B4-BE49-F238E27FC236}">
                    <a16:creationId xmlns:a16="http://schemas.microsoft.com/office/drawing/2014/main" id="{D4BE5F85-B01D-3274-6056-58F096AAAC08}"/>
                  </a:ext>
                </a:extLst>
              </p:cNvPr>
              <p:cNvSpPr txBox="1">
                <a:spLocks noRot="1" noChangeAspect="1" noMove="1" noResize="1" noEditPoints="1" noAdjustHandles="1" noChangeArrowheads="1" noChangeShapeType="1" noTextEdit="1"/>
              </p:cNvSpPr>
              <p:nvPr/>
            </p:nvSpPr>
            <p:spPr>
              <a:xfrm>
                <a:off x="1155132" y="6116450"/>
                <a:ext cx="4182962" cy="408894"/>
              </a:xfrm>
              <a:prstGeom prst="rect">
                <a:avLst/>
              </a:prstGeom>
              <a:blipFill>
                <a:blip r:embed="rId6"/>
                <a:stretch>
                  <a:fillRect b="-12121"/>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1" name="テキスト ボックス 10">
                <a:extLst>
                  <a:ext uri="{FF2B5EF4-FFF2-40B4-BE49-F238E27FC236}">
                    <a16:creationId xmlns:a16="http://schemas.microsoft.com/office/drawing/2014/main" id="{CE385DA2-F98C-DF3A-1CFC-DFE338CF02EE}"/>
                  </a:ext>
                </a:extLst>
              </p:cNvPr>
              <p:cNvSpPr txBox="1"/>
              <p:nvPr/>
            </p:nvSpPr>
            <p:spPr>
              <a:xfrm>
                <a:off x="4961038" y="6098430"/>
                <a:ext cx="4182962" cy="4088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i="1">
                              <a:latin typeface="Cambria Math" panose="02040503050406030204" pitchFamily="18" charset="0"/>
                            </a:rPr>
                          </m:ctrlPr>
                        </m:sSubSupPr>
                        <m:e>
                          <m:r>
                            <a:rPr lang="ja-JP" altLang="en-US" i="1">
                              <a:latin typeface="Cambria Math" panose="02040503050406030204" pitchFamily="18" charset="0"/>
                            </a:rPr>
                            <m:t>𝐻𝐸𝑃</m:t>
                          </m:r>
                        </m:e>
                        <m:sub>
                          <m:r>
                            <a:rPr lang="ja-JP" altLang="en-US" i="1">
                              <a:latin typeface="Cambria Math" panose="02040503050406030204" pitchFamily="18" charset="0"/>
                            </a:rPr>
                            <m:t>𝑡𝑎𝑠𝑘</m:t>
                          </m:r>
                          <m:r>
                            <a:rPr lang="en-US" altLang="ja-JP" b="0" i="0" smtClean="0">
                              <a:latin typeface="Cambria Math" panose="02040503050406030204" pitchFamily="18" charset="0"/>
                            </a:rPr>
                            <m:t>2</m:t>
                          </m:r>
                        </m:sub>
                        <m:sup/>
                      </m:sSubSup>
                      <m:r>
                        <a:rPr lang="ja-JP" altLang="en-US" i="0">
                          <a:latin typeface="Cambria Math" panose="02040503050406030204" pitchFamily="18" charset="0"/>
                        </a:rPr>
                        <m:t>=</m:t>
                      </m:r>
                      <m:r>
                        <a:rPr lang="en" altLang="ja-JP" i="1">
                          <a:latin typeface="Cambria Math" panose="02040503050406030204" pitchFamily="18" charset="0"/>
                        </a:rPr>
                        <m:t>1.00</m:t>
                      </m:r>
                      <m:r>
                        <a:rPr lang="en" altLang="ja-JP" i="1">
                          <a:latin typeface="Cambria Math" panose="02040503050406030204" pitchFamily="18" charset="0"/>
                        </a:rPr>
                        <m:t>𝐸</m:t>
                      </m:r>
                      <m:r>
                        <a:rPr lang="en" altLang="ja-JP" i="1">
                          <a:latin typeface="Cambria Math" panose="02040503050406030204" pitchFamily="18" charset="0"/>
                        </a:rPr>
                        <m:t>−03[1+</m:t>
                      </m:r>
                      <m:sSubSup>
                        <m:sSubSupPr>
                          <m:ctrlPr>
                            <a:rPr lang="ja-JP" altLang="en-US" i="1">
                              <a:solidFill>
                                <a:srgbClr val="C00000"/>
                              </a:solidFill>
                              <a:latin typeface="Cambria Math" panose="02040503050406030204" pitchFamily="18" charset="0"/>
                            </a:rPr>
                          </m:ctrlPr>
                        </m:sSubSupPr>
                        <m:e>
                          <m:r>
                            <a:rPr lang="ja-JP" altLang="en-US" i="1">
                              <a:solidFill>
                                <a:srgbClr val="C00000"/>
                              </a:solidFill>
                              <a:latin typeface="Cambria Math" panose="02040503050406030204" pitchFamily="18" charset="0"/>
                            </a:rPr>
                            <m:t>𝑃𝐼𝐹</m:t>
                          </m:r>
                        </m:e>
                        <m:sub>
                          <m:r>
                            <a:rPr lang="ja-JP" altLang="en-US" i="1">
                              <a:solidFill>
                                <a:srgbClr val="C00000"/>
                              </a:solidFill>
                              <a:latin typeface="Cambria Math" panose="02040503050406030204" pitchFamily="18" charset="0"/>
                            </a:rPr>
                            <m:t>𝐸𝑁𝑉</m:t>
                          </m:r>
                        </m:sub>
                        <m:sup/>
                      </m:sSubSup>
                      <m:r>
                        <a:rPr lang="ja-JP" altLang="en-US" i="0">
                          <a:latin typeface="Cambria Math" panose="02040503050406030204" pitchFamily="18" charset="0"/>
                        </a:rPr>
                        <m:t>]</m:t>
                      </m:r>
                    </m:oMath>
                  </m:oMathPara>
                </a14:m>
                <a:endParaRPr lang="ja-JP" altLang="en-US"/>
              </a:p>
            </p:txBody>
          </p:sp>
        </mc:Choice>
        <mc:Fallback xmlns="">
          <p:sp>
            <p:nvSpPr>
              <p:cNvPr id="11" name="テキスト ボックス 10">
                <a:extLst>
                  <a:ext uri="{FF2B5EF4-FFF2-40B4-BE49-F238E27FC236}">
                    <a16:creationId xmlns:a16="http://schemas.microsoft.com/office/drawing/2014/main" id="{CE385DA2-F98C-DF3A-1CFC-DFE338CF02EE}"/>
                  </a:ext>
                </a:extLst>
              </p:cNvPr>
              <p:cNvSpPr txBox="1">
                <a:spLocks noRot="1" noChangeAspect="1" noMove="1" noResize="1" noEditPoints="1" noAdjustHandles="1" noChangeArrowheads="1" noChangeShapeType="1" noTextEdit="1"/>
              </p:cNvSpPr>
              <p:nvPr/>
            </p:nvSpPr>
            <p:spPr>
              <a:xfrm>
                <a:off x="4961038" y="6098430"/>
                <a:ext cx="4182962" cy="408894"/>
              </a:xfrm>
              <a:prstGeom prst="rect">
                <a:avLst/>
              </a:prstGeom>
              <a:blipFill>
                <a:blip r:embed="rId7"/>
                <a:stretch>
                  <a:fillRect b="-12121"/>
                </a:stretch>
              </a:blipFill>
            </p:spPr>
            <p:txBody>
              <a:bodyPr/>
              <a:lstStyle/>
              <a:p>
                <a:r>
                  <a:rPr lang="ja-JP" altLang="en-US">
                    <a:noFill/>
                  </a:rPr>
                  <a:t> </a:t>
                </a:r>
              </a:p>
            </p:txBody>
          </p:sp>
        </mc:Fallback>
      </mc:AlternateContent>
      <p:sp>
        <p:nvSpPr>
          <p:cNvPr id="12" name="右矢印 11">
            <a:extLst>
              <a:ext uri="{FF2B5EF4-FFF2-40B4-BE49-F238E27FC236}">
                <a16:creationId xmlns:a16="http://schemas.microsoft.com/office/drawing/2014/main" id="{AFDBDE6C-96D9-0FF6-227C-C0987191181A}"/>
              </a:ext>
            </a:extLst>
          </p:cNvPr>
          <p:cNvSpPr/>
          <p:nvPr/>
        </p:nvSpPr>
        <p:spPr>
          <a:xfrm rot="5400000">
            <a:off x="3219471" y="5981556"/>
            <a:ext cx="288032" cy="23374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右矢印 13">
            <a:extLst>
              <a:ext uri="{FF2B5EF4-FFF2-40B4-BE49-F238E27FC236}">
                <a16:creationId xmlns:a16="http://schemas.microsoft.com/office/drawing/2014/main" id="{FE260F58-56C8-1DF0-02E1-52FF68AB7869}"/>
              </a:ext>
            </a:extLst>
          </p:cNvPr>
          <p:cNvSpPr/>
          <p:nvPr/>
        </p:nvSpPr>
        <p:spPr>
          <a:xfrm rot="5400000">
            <a:off x="7063767" y="5952510"/>
            <a:ext cx="288032" cy="23374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92753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18E94-C6FA-C6FE-60FF-F82168A2BA5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B925191-6BE6-3D0E-50DA-66D593916C35}"/>
              </a:ext>
            </a:extLst>
          </p:cNvPr>
          <p:cNvSpPr>
            <a:spLocks noGrp="1"/>
          </p:cNvSpPr>
          <p:nvPr>
            <p:ph type="title"/>
          </p:nvPr>
        </p:nvSpPr>
        <p:spPr>
          <a:xfrm>
            <a:off x="374496" y="332656"/>
            <a:ext cx="8769504" cy="779116"/>
          </a:xfrm>
        </p:spPr>
        <p:txBody>
          <a:bodyPr/>
          <a:lstStyle/>
          <a:p>
            <a:pPr algn="l"/>
            <a:r>
              <a:rPr lang="en-US" altLang="ja-JP" dirty="0"/>
              <a:t>Scenario-Specific Adaptation </a:t>
            </a:r>
            <a:r>
              <a:rPr lang="en-US" altLang="zh-TW" sz="1800" dirty="0">
                <a:cs typeface="Calibri" panose="020F0502020204030204" pitchFamily="34" charset="0"/>
              </a:rPr>
              <a:t>—</a:t>
            </a:r>
            <a:r>
              <a:rPr lang="en-US" altLang="ja-JP" sz="1800" dirty="0"/>
              <a:t> Dynamic Environment to HEP (2/2) </a:t>
            </a:r>
            <a:r>
              <a:rPr lang="en-US" altLang="zh-TW" sz="1800" dirty="0">
                <a:cs typeface="Calibri" panose="020F0502020204030204" pitchFamily="34" charset="0"/>
              </a:rPr>
              <a:t>—</a:t>
            </a:r>
            <a:endParaRPr kumimoji="1" lang="ja-JP" altLang="en-US" sz="1800" dirty="0"/>
          </a:p>
        </p:txBody>
      </p:sp>
      <mc:AlternateContent xmlns:mc="http://schemas.openxmlformats.org/markup-compatibility/2006" xmlns:a14="http://schemas.microsoft.com/office/drawing/2010/main">
        <mc:Choice Requires="a14">
          <p:sp>
            <p:nvSpPr>
              <p:cNvPr id="38" name="コンテンツ プレースホルダー 4">
                <a:extLst>
                  <a:ext uri="{FF2B5EF4-FFF2-40B4-BE49-F238E27FC236}">
                    <a16:creationId xmlns:a16="http://schemas.microsoft.com/office/drawing/2014/main" id="{AB2E57B4-D676-6878-B9F8-B9B13965D874}"/>
                  </a:ext>
                </a:extLst>
              </p:cNvPr>
              <p:cNvSpPr txBox="1">
                <a:spLocks/>
              </p:cNvSpPr>
              <p:nvPr/>
            </p:nvSpPr>
            <p:spPr bwMode="auto">
              <a:xfrm>
                <a:off x="213384" y="1240394"/>
                <a:ext cx="8730587" cy="1044696"/>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en-US" altLang="ja-JP" b="1" dirty="0"/>
                  <a:t>Linking the </a:t>
                </a:r>
                <a:r>
                  <a:rPr lang="en-US" altLang="ja-JP" b="1" dirty="0">
                    <a:highlight>
                      <a:srgbClr val="FFFF00"/>
                    </a:highlight>
                  </a:rPr>
                  <a:t>Working Environment’s Dynamic</a:t>
                </a:r>
                <a:r>
                  <a:rPr lang="ja-JP" altLang="en-US"/>
                  <a:t> </a:t>
                </a:r>
                <a:r>
                  <a:rPr lang="en-US" altLang="ja-JP" b="1" dirty="0"/>
                  <a:t>to </a:t>
                </a:r>
                <a:r>
                  <a:rPr lang="en-US" altLang="ja-JP" b="1" dirty="0">
                    <a:highlight>
                      <a:srgbClr val="FFFF00"/>
                    </a:highlight>
                  </a:rPr>
                  <a:t>Task1&amp;2 HEPs</a:t>
                </a:r>
                <a:r>
                  <a:rPr lang="en-US" altLang="ja-JP" b="1" dirty="0"/>
                  <a:t>:</a:t>
                </a:r>
              </a:p>
              <a:p>
                <a:pPr lvl="1"/>
                <a:r>
                  <a:rPr lang="en-US" altLang="ja-JP" sz="1400" u="sng" dirty="0"/>
                  <a:t>Visibility</a:t>
                </a:r>
                <a:r>
                  <a:rPr lang="en-US" altLang="ja-JP" sz="1400" dirty="0"/>
                  <a:t> is the interface. </a:t>
                </a:r>
              </a:p>
              <a:p>
                <a:pPr lvl="1"/>
                <a:r>
                  <a:rPr lang="en-US" altLang="ja-JP" sz="1400" dirty="0">
                    <a:solidFill>
                      <a:schemeClr val="tx1"/>
                    </a:solidFill>
                  </a:rPr>
                  <a:t>Dynamically fluctuating </a:t>
                </a:r>
                <a:r>
                  <a:rPr lang="en-US" altLang="ja-JP" sz="1400" i="1" u="sng" dirty="0">
                    <a:solidFill>
                      <a:schemeClr val="tx1"/>
                    </a:solidFill>
                  </a:rPr>
                  <a:t>PIF</a:t>
                </a:r>
                <a:r>
                  <a:rPr lang="en-US" altLang="ja-JP" sz="1400" i="1" u="sng" baseline="-25000" dirty="0">
                    <a:solidFill>
                      <a:schemeClr val="tx1"/>
                    </a:solidFill>
                  </a:rPr>
                  <a:t>ENV</a:t>
                </a:r>
                <a:r>
                  <a:rPr lang="en-US" altLang="ja-JP" sz="1400" u="sng" dirty="0">
                    <a:solidFill>
                      <a:schemeClr val="tx1"/>
                    </a:solidFill>
                  </a:rPr>
                  <a:t> at every </a:t>
                </a:r>
                <a14:m>
                  <m:oMath xmlns:m="http://schemas.openxmlformats.org/officeDocument/2006/math">
                    <m:r>
                      <a:rPr lang="en-US" altLang="ja-JP" sz="1400" b="0" i="1" u="sng" dirty="0" smtClean="0">
                        <a:solidFill>
                          <a:schemeClr val="tx1"/>
                        </a:solidFill>
                        <a:latin typeface="Cambria Math" panose="02040503050406030204" pitchFamily="18" charset="0"/>
                        <a:ea typeface="Cambria Math" panose="02040503050406030204" pitchFamily="18" charset="0"/>
                      </a:rPr>
                      <m:t>∆</m:t>
                    </m:r>
                  </m:oMath>
                </a14:m>
                <a:r>
                  <a:rPr lang="en-US" altLang="ja-JP" sz="1400" u="sng" dirty="0">
                    <a:solidFill>
                      <a:schemeClr val="tx1"/>
                    </a:solidFill>
                  </a:rPr>
                  <a:t>t</a:t>
                </a:r>
                <a:r>
                  <a:rPr lang="en-US" altLang="ja-JP" sz="1400" dirty="0">
                    <a:solidFill>
                      <a:schemeClr val="tx1"/>
                    </a:solidFill>
                  </a:rPr>
                  <a:t>, recalibrating the </a:t>
                </a:r>
                <a:r>
                  <a:rPr lang="en-US" altLang="ja-JP" sz="1400" u="sng" dirty="0">
                    <a:solidFill>
                      <a:schemeClr val="tx1"/>
                    </a:solidFill>
                  </a:rPr>
                  <a:t>HEP</a:t>
                </a:r>
                <a:r>
                  <a:rPr lang="en-US" altLang="ja-JP" sz="1400" b="1" dirty="0">
                    <a:solidFill>
                      <a:schemeClr val="tx1"/>
                    </a:solidFill>
                  </a:rPr>
                  <a:t> </a:t>
                </a:r>
                <a:r>
                  <a:rPr lang="en-US" altLang="ja-JP" sz="1400" dirty="0">
                    <a:solidFill>
                      <a:schemeClr val="tx1"/>
                    </a:solidFill>
                  </a:rPr>
                  <a:t>in real-time.</a:t>
                </a:r>
              </a:p>
              <a:p>
                <a:pPr lvl="1"/>
                <a:r>
                  <a:rPr lang="ja-JP" altLang="en-US" sz="1400"/>
                  <a:t>➡ </a:t>
                </a:r>
                <a:r>
                  <a:rPr lang="en-US" altLang="ja-JP" sz="1400" dirty="0"/>
                  <a:t>Degraded visibility will increase the likelihood of human error. </a:t>
                </a:r>
                <a:endParaRPr lang="en-US" altLang="ja-JP" sz="1400" dirty="0">
                  <a:solidFill>
                    <a:schemeClr val="tx1"/>
                  </a:solidFill>
                </a:endParaRPr>
              </a:p>
              <a:p>
                <a:pPr lvl="1"/>
                <a:endParaRPr lang="en-US" altLang="ja-JP" sz="1400" dirty="0">
                  <a:solidFill>
                    <a:schemeClr val="tx1"/>
                  </a:solidFill>
                </a:endParaRPr>
              </a:p>
            </p:txBody>
          </p:sp>
        </mc:Choice>
        <mc:Fallback xmlns="">
          <p:sp>
            <p:nvSpPr>
              <p:cNvPr id="38" name="コンテンツ プレースホルダー 4">
                <a:extLst>
                  <a:ext uri="{FF2B5EF4-FFF2-40B4-BE49-F238E27FC236}">
                    <a16:creationId xmlns:a16="http://schemas.microsoft.com/office/drawing/2014/main" id="{AB2E57B4-D676-6878-B9F8-B9B13965D874}"/>
                  </a:ext>
                </a:extLst>
              </p:cNvPr>
              <p:cNvSpPr txBox="1">
                <a:spLocks noRot="1" noChangeAspect="1" noMove="1" noResize="1" noEditPoints="1" noAdjustHandles="1" noChangeArrowheads="1" noChangeShapeType="1" noTextEdit="1"/>
              </p:cNvSpPr>
              <p:nvPr/>
            </p:nvSpPr>
            <p:spPr bwMode="auto">
              <a:xfrm>
                <a:off x="213384" y="1240394"/>
                <a:ext cx="8730587" cy="1044696"/>
              </a:xfrm>
              <a:prstGeom prst="rect">
                <a:avLst/>
              </a:prstGeom>
              <a:blipFill>
                <a:blip r:embed="rId3"/>
                <a:stretch>
                  <a:fillRect l="-290" t="-1205" b="-12048"/>
                </a:stretch>
              </a:blipFill>
              <a:ln w="9525">
                <a:noFill/>
                <a:miter lim="800000"/>
                <a:headEnd/>
                <a:tailEnd/>
              </a:ln>
            </p:spPr>
            <p:txBody>
              <a:bodyPr/>
              <a:lstStyle/>
              <a:p>
                <a:r>
                  <a:rPr lang="ja-JP" altLang="en-US">
                    <a:noFill/>
                  </a:rPr>
                  <a:t> </a:t>
                </a:r>
              </a:p>
            </p:txBody>
          </p:sp>
        </mc:Fallback>
      </mc:AlternateContent>
      <p:sp>
        <p:nvSpPr>
          <p:cNvPr id="19" name="テキスト プレースホルダー 5">
            <a:extLst>
              <a:ext uri="{FF2B5EF4-FFF2-40B4-BE49-F238E27FC236}">
                <a16:creationId xmlns:a16="http://schemas.microsoft.com/office/drawing/2014/main" id="{96EA51B5-BC6E-3AF2-7EE0-F2DFCE4C884D}"/>
              </a:ext>
            </a:extLst>
          </p:cNvPr>
          <p:cNvSpPr txBox="1">
            <a:spLocks/>
          </p:cNvSpPr>
          <p:nvPr/>
        </p:nvSpPr>
        <p:spPr>
          <a:xfrm>
            <a:off x="6058" y="2383576"/>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1. Link to </a:t>
            </a:r>
            <a:r>
              <a:rPr lang="en-US" altLang="zh-TW" b="1" dirty="0">
                <a:solidFill>
                  <a:schemeClr val="tx2"/>
                </a:solidFill>
              </a:rPr>
              <a:t>Visibility</a:t>
            </a:r>
            <a:endParaRPr lang="en-US" altLang="ja-JP" b="1" dirty="0">
              <a:solidFill>
                <a:schemeClr val="tx2"/>
              </a:solidFill>
            </a:endParaRPr>
          </a:p>
        </p:txBody>
      </p:sp>
      <p:cxnSp>
        <p:nvCxnSpPr>
          <p:cNvPr id="20" name="直線コネクタ 19">
            <a:extLst>
              <a:ext uri="{FF2B5EF4-FFF2-40B4-BE49-F238E27FC236}">
                <a16:creationId xmlns:a16="http://schemas.microsoft.com/office/drawing/2014/main" id="{7F588074-B5DC-9165-B2C4-9206E481242A}"/>
              </a:ext>
            </a:extLst>
          </p:cNvPr>
          <p:cNvCxnSpPr>
            <a:cxnSpLocks/>
          </p:cNvCxnSpPr>
          <p:nvPr/>
        </p:nvCxnSpPr>
        <p:spPr>
          <a:xfrm>
            <a:off x="371202" y="2708554"/>
            <a:ext cx="240665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B471381B-8536-3E73-9B91-9E9A4E0BBF6C}"/>
              </a:ext>
            </a:extLst>
          </p:cNvPr>
          <p:cNvSpPr txBox="1"/>
          <p:nvPr/>
        </p:nvSpPr>
        <p:spPr>
          <a:xfrm>
            <a:off x="2382482" y="3009576"/>
            <a:ext cx="3086123" cy="369332"/>
          </a:xfrm>
          <a:prstGeom prst="rect">
            <a:avLst/>
          </a:prstGeom>
          <a:noFill/>
        </p:spPr>
        <p:txBody>
          <a:bodyPr wrap="square">
            <a:spAutoFit/>
          </a:bodyPr>
          <a:lstStyle/>
          <a:p>
            <a:endParaRPr lang="ja-JP" altLang="en-US"/>
          </a:p>
        </p:txBody>
      </p:sp>
      <mc:AlternateContent xmlns:mc="http://schemas.openxmlformats.org/markup-compatibility/2006" xmlns:a14="http://schemas.microsoft.com/office/drawing/2010/main">
        <mc:Choice Requires="a14">
          <p:sp>
            <p:nvSpPr>
              <p:cNvPr id="22" name="テキスト ボックス 21">
                <a:extLst>
                  <a:ext uri="{FF2B5EF4-FFF2-40B4-BE49-F238E27FC236}">
                    <a16:creationId xmlns:a16="http://schemas.microsoft.com/office/drawing/2014/main" id="{51F6971D-FBE1-10ED-CF13-93D8B0E737C6}"/>
                  </a:ext>
                </a:extLst>
              </p:cNvPr>
              <p:cNvSpPr txBox="1"/>
              <p:nvPr/>
            </p:nvSpPr>
            <p:spPr>
              <a:xfrm>
                <a:off x="114636" y="3681309"/>
                <a:ext cx="2447949" cy="40164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i="1">
                              <a:latin typeface="Cambria Math" panose="02040503050406030204" pitchFamily="18" charset="0"/>
                            </a:rPr>
                          </m:ctrlPr>
                        </m:sSubSupPr>
                        <m:e>
                          <m:r>
                            <a:rPr lang="ja-JP" altLang="en-US" i="1">
                              <a:latin typeface="Cambria Math" panose="02040503050406030204" pitchFamily="18" charset="0"/>
                            </a:rPr>
                            <m:t>𝑉</m:t>
                          </m:r>
                        </m:e>
                        <m:sub>
                          <m:r>
                            <a:rPr lang="ja-JP" altLang="en-US" i="1">
                              <a:latin typeface="Cambria Math" panose="02040503050406030204" pitchFamily="18" charset="0"/>
                            </a:rPr>
                            <m:t>𝑗</m:t>
                          </m:r>
                        </m:sub>
                        <m:sup>
                          <m:r>
                            <a:rPr lang="ja-JP" altLang="en-US" i="1">
                              <a:latin typeface="Cambria Math" panose="02040503050406030204" pitchFamily="18" charset="0"/>
                            </a:rPr>
                            <m:t>𝑛</m:t>
                          </m:r>
                        </m:sup>
                      </m:sSubSup>
                      <m:r>
                        <a:rPr lang="ja-JP" altLang="en-US" i="0">
                          <a:latin typeface="Cambria Math" panose="02040503050406030204" pitchFamily="18" charset="0"/>
                        </a:rPr>
                        <m:t>=3.</m:t>
                      </m:r>
                      <m:f>
                        <m:fPr>
                          <m:type m:val="lin"/>
                          <m:ctrlPr>
                            <a:rPr lang="ja-JP" altLang="en-US" i="1">
                              <a:latin typeface="Cambria Math" panose="02040503050406030204" pitchFamily="18" charset="0"/>
                            </a:rPr>
                          </m:ctrlPr>
                        </m:fPr>
                        <m:num>
                          <m:r>
                            <a:rPr lang="ja-JP" altLang="en-US" i="0">
                              <a:latin typeface="Cambria Math" panose="02040503050406030204" pitchFamily="18" charset="0"/>
                            </a:rPr>
                            <m:t>912</m:t>
                          </m:r>
                        </m:num>
                        <m:den>
                          <m:sSubSup>
                            <m:sSubSupPr>
                              <m:ctrlPr>
                                <a:rPr lang="ja-JP" altLang="en-US" i="1">
                                  <a:latin typeface="Cambria Math" panose="02040503050406030204" pitchFamily="18" charset="0"/>
                                </a:rPr>
                              </m:ctrlPr>
                            </m:sSubSupPr>
                            <m:e>
                              <m:r>
                                <a:rPr lang="ja-JP" altLang="en-US" i="1">
                                  <a:latin typeface="Cambria Math" panose="02040503050406030204" pitchFamily="18" charset="0"/>
                                </a:rPr>
                                <m:t>𝛽</m:t>
                              </m:r>
                            </m:e>
                            <m:sub>
                              <m:r>
                                <a:rPr lang="ja-JP" altLang="en-US" i="1">
                                  <a:latin typeface="Cambria Math" panose="02040503050406030204" pitchFamily="18" charset="0"/>
                                </a:rPr>
                                <m:t>𝑒𝑥𝑡</m:t>
                              </m:r>
                              <m:r>
                                <a:rPr lang="ja-JP" altLang="en-US" i="0">
                                  <a:latin typeface="Cambria Math" panose="02040503050406030204" pitchFamily="18" charset="0"/>
                                </a:rPr>
                                <m:t>,</m:t>
                              </m:r>
                              <m:r>
                                <a:rPr lang="ja-JP" altLang="en-US" i="1">
                                  <a:latin typeface="Cambria Math" panose="02040503050406030204" pitchFamily="18" charset="0"/>
                                </a:rPr>
                                <m:t>𝑗</m:t>
                              </m:r>
                            </m:sub>
                            <m:sup>
                              <m:r>
                                <a:rPr lang="ja-JP" altLang="en-US" i="1">
                                  <a:latin typeface="Cambria Math" panose="02040503050406030204" pitchFamily="18" charset="0"/>
                                </a:rPr>
                                <m:t>𝑛</m:t>
                              </m:r>
                            </m:sup>
                          </m:sSubSup>
                        </m:den>
                      </m:f>
                      <m:r>
                        <a:rPr lang="ja-JP" altLang="en-US" i="0">
                          <a:latin typeface="Cambria Math" panose="02040503050406030204" pitchFamily="18" charset="0"/>
                        </a:rPr>
                        <m:t> </m:t>
                      </m:r>
                    </m:oMath>
                  </m:oMathPara>
                </a14:m>
                <a:endParaRPr lang="ja-JP" altLang="en-US"/>
              </a:p>
            </p:txBody>
          </p:sp>
        </mc:Choice>
        <mc:Fallback xmlns="">
          <p:sp>
            <p:nvSpPr>
              <p:cNvPr id="22" name="テキスト ボックス 21">
                <a:extLst>
                  <a:ext uri="{FF2B5EF4-FFF2-40B4-BE49-F238E27FC236}">
                    <a16:creationId xmlns:a16="http://schemas.microsoft.com/office/drawing/2014/main" id="{51F6971D-FBE1-10ED-CF13-93D8B0E737C6}"/>
                  </a:ext>
                </a:extLst>
              </p:cNvPr>
              <p:cNvSpPr txBox="1">
                <a:spLocks noRot="1" noChangeAspect="1" noMove="1" noResize="1" noEditPoints="1" noAdjustHandles="1" noChangeArrowheads="1" noChangeShapeType="1" noTextEdit="1"/>
              </p:cNvSpPr>
              <p:nvPr/>
            </p:nvSpPr>
            <p:spPr>
              <a:xfrm>
                <a:off x="114636" y="3681309"/>
                <a:ext cx="2447949" cy="401648"/>
              </a:xfrm>
              <a:prstGeom prst="rect">
                <a:avLst/>
              </a:prstGeom>
              <a:blipFill>
                <a:blip r:embed="rId4"/>
                <a:stretch>
                  <a:fillRect t="-100000" b="-145455"/>
                </a:stretch>
              </a:blipFill>
            </p:spPr>
            <p:txBody>
              <a:bodyPr/>
              <a:lstStyle/>
              <a:p>
                <a:r>
                  <a:rPr lang="ja-JP" altLang="en-US">
                    <a:noFill/>
                  </a:rPr>
                  <a:t> </a:t>
                </a:r>
              </a:p>
            </p:txBody>
          </p:sp>
        </mc:Fallback>
      </mc:AlternateContent>
      <p:sp>
        <p:nvSpPr>
          <p:cNvPr id="24" name="テキスト ボックス 23">
            <a:extLst>
              <a:ext uri="{FF2B5EF4-FFF2-40B4-BE49-F238E27FC236}">
                <a16:creationId xmlns:a16="http://schemas.microsoft.com/office/drawing/2014/main" id="{302EC900-8851-5B39-A349-55EA1BEF9704}"/>
              </a:ext>
            </a:extLst>
          </p:cNvPr>
          <p:cNvSpPr txBox="1"/>
          <p:nvPr/>
        </p:nvSpPr>
        <p:spPr>
          <a:xfrm>
            <a:off x="80145" y="2989372"/>
            <a:ext cx="2149049" cy="492443"/>
          </a:xfrm>
          <a:prstGeom prst="rect">
            <a:avLst/>
          </a:prstGeom>
          <a:noFill/>
        </p:spPr>
        <p:txBody>
          <a:bodyPr wrap="square">
            <a:spAutoFit/>
          </a:bodyPr>
          <a:lstStyle/>
          <a:p>
            <a:pPr marL="265844" lvl="1">
              <a:spcBef>
                <a:spcPts val="277"/>
              </a:spcBef>
            </a:pPr>
            <a:r>
              <a:rPr lang="en-US" altLang="zh-TW" sz="1300" b="1" i="1" dirty="0">
                <a:solidFill>
                  <a:schemeClr val="tx2"/>
                </a:solidFill>
                <a:latin typeface="+mn-lt"/>
                <a:ea typeface="+mn-ea"/>
              </a:rPr>
              <a:t>Visibility </a:t>
            </a:r>
            <a:r>
              <a:rPr lang="en-US" altLang="ja-JP" sz="1300" b="1" i="1" dirty="0">
                <a:solidFill>
                  <a:schemeClr val="tx2"/>
                </a:solidFill>
              </a:rPr>
              <a:t>[m]</a:t>
            </a:r>
            <a:br>
              <a:rPr lang="en-US" altLang="ja-JP" sz="1300" i="1" dirty="0">
                <a:solidFill>
                  <a:schemeClr val="tx2"/>
                </a:solidFill>
              </a:rPr>
            </a:br>
            <a:r>
              <a:rPr lang="en-US" altLang="zh-TW" sz="1300" i="1" dirty="0">
                <a:solidFill>
                  <a:schemeClr val="tx2"/>
                </a:solidFill>
                <a:latin typeface="+mn-lt"/>
                <a:ea typeface="+mn-ea"/>
              </a:rPr>
              <a:t>(visible distance)</a:t>
            </a:r>
            <a:r>
              <a:rPr lang="en-US" altLang="ja-JP" sz="1300" i="1" dirty="0">
                <a:solidFill>
                  <a:schemeClr val="tx2"/>
                </a:solidFill>
                <a:latin typeface="+mn-lt"/>
                <a:ea typeface="+mn-ea"/>
              </a:rPr>
              <a:t> </a:t>
            </a:r>
          </a:p>
        </p:txBody>
      </p:sp>
      <p:cxnSp>
        <p:nvCxnSpPr>
          <p:cNvPr id="25" name="カギ線コネクタ 24">
            <a:extLst>
              <a:ext uri="{FF2B5EF4-FFF2-40B4-BE49-F238E27FC236}">
                <a16:creationId xmlns:a16="http://schemas.microsoft.com/office/drawing/2014/main" id="{5F3F7F64-A788-97C6-8E1A-7A9A725C521C}"/>
              </a:ext>
            </a:extLst>
          </p:cNvPr>
          <p:cNvCxnSpPr>
            <a:cxnSpLocks/>
          </p:cNvCxnSpPr>
          <p:nvPr/>
        </p:nvCxnSpPr>
        <p:spPr>
          <a:xfrm rot="5400000">
            <a:off x="386709" y="3600167"/>
            <a:ext cx="252315" cy="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826C8692-34B1-8B17-6EB0-FEB2033840D9}"/>
              </a:ext>
            </a:extLst>
          </p:cNvPr>
          <p:cNvSpPr txBox="1"/>
          <p:nvPr/>
        </p:nvSpPr>
        <p:spPr>
          <a:xfrm>
            <a:off x="80145" y="4584423"/>
            <a:ext cx="2613332" cy="730969"/>
          </a:xfrm>
          <a:prstGeom prst="rect">
            <a:avLst/>
          </a:prstGeom>
          <a:noFill/>
        </p:spPr>
        <p:txBody>
          <a:bodyPr wrap="square">
            <a:spAutoFit/>
          </a:bodyPr>
          <a:lstStyle/>
          <a:p>
            <a:pPr marL="265844" lvl="1">
              <a:spcBef>
                <a:spcPts val="277"/>
              </a:spcBef>
            </a:pPr>
            <a:r>
              <a:rPr lang="en-US" altLang="zh-TW" sz="1300" b="1" i="1" dirty="0">
                <a:solidFill>
                  <a:schemeClr val="tx2"/>
                </a:solidFill>
                <a:latin typeface="+mn-lt"/>
                <a:ea typeface="+mn-ea"/>
              </a:rPr>
              <a:t>Extinction coefficient </a:t>
            </a:r>
            <a:r>
              <a:rPr lang="en-US" altLang="ja-JP" sz="1300" b="1" i="1" dirty="0">
                <a:solidFill>
                  <a:schemeClr val="tx2"/>
                </a:solidFill>
              </a:rPr>
              <a:t>[1/m]</a:t>
            </a:r>
            <a:endParaRPr lang="en-US" altLang="zh-TW" sz="1300" b="1" i="1" dirty="0">
              <a:solidFill>
                <a:schemeClr val="tx2"/>
              </a:solidFill>
              <a:latin typeface="+mn-lt"/>
              <a:ea typeface="+mn-ea"/>
            </a:endParaRPr>
          </a:p>
          <a:p>
            <a:pPr marL="265844" lvl="1">
              <a:spcBef>
                <a:spcPts val="277"/>
              </a:spcBef>
            </a:pPr>
            <a:r>
              <a:rPr lang="en-US" altLang="ja-JP" sz="1300" i="1" dirty="0">
                <a:solidFill>
                  <a:schemeClr val="tx2"/>
                </a:solidFill>
                <a:latin typeface="+mn-lt"/>
                <a:ea typeface="+mn-ea"/>
              </a:rPr>
              <a:t>(related to the </a:t>
            </a:r>
            <a:r>
              <a:rPr lang="en-US" altLang="ja-JP" sz="1300" b="1" i="1" u="sng" dirty="0">
                <a:solidFill>
                  <a:srgbClr val="C00000"/>
                </a:solidFill>
                <a:latin typeface="+mn-lt"/>
                <a:ea typeface="+mn-ea"/>
              </a:rPr>
              <a:t>ash concentration</a:t>
            </a:r>
            <a:r>
              <a:rPr lang="en-US" altLang="ja-JP" sz="1300" i="1" dirty="0">
                <a:solidFill>
                  <a:schemeClr val="tx2"/>
                </a:solidFill>
                <a:latin typeface="+mn-lt"/>
                <a:ea typeface="+mn-ea"/>
              </a:rPr>
              <a:t>) </a:t>
            </a:r>
          </a:p>
        </p:txBody>
      </p:sp>
      <p:cxnSp>
        <p:nvCxnSpPr>
          <p:cNvPr id="27" name="カギ線コネクタ 26">
            <a:extLst>
              <a:ext uri="{FF2B5EF4-FFF2-40B4-BE49-F238E27FC236}">
                <a16:creationId xmlns:a16="http://schemas.microsoft.com/office/drawing/2014/main" id="{AC281049-4C5D-D571-7BCD-21AE592338C1}"/>
              </a:ext>
            </a:extLst>
          </p:cNvPr>
          <p:cNvCxnSpPr>
            <a:cxnSpLocks/>
          </p:cNvCxnSpPr>
          <p:nvPr/>
        </p:nvCxnSpPr>
        <p:spPr>
          <a:xfrm rot="5400000" flipH="1" flipV="1">
            <a:off x="1358330" y="4062213"/>
            <a:ext cx="642368" cy="54824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3" name="テキスト プレースホルダー 5">
                <a:extLst>
                  <a:ext uri="{FF2B5EF4-FFF2-40B4-BE49-F238E27FC236}">
                    <a16:creationId xmlns:a16="http://schemas.microsoft.com/office/drawing/2014/main" id="{FDE83261-F14C-0CC8-DCA5-161B54459586}"/>
                  </a:ext>
                </a:extLst>
              </p:cNvPr>
              <p:cNvSpPr txBox="1">
                <a:spLocks/>
              </p:cNvSpPr>
              <p:nvPr/>
            </p:nvSpPr>
            <p:spPr>
              <a:xfrm>
                <a:off x="2832182" y="2383808"/>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2. Link to </a:t>
                </a:r>
                <a14:m>
                  <m:oMath xmlns:m="http://schemas.openxmlformats.org/officeDocument/2006/math">
                    <m:sSub>
                      <m:sSubPr>
                        <m:ctrlPr>
                          <a:rPr lang="en-US" altLang="ja-JP" b="1" i="1">
                            <a:solidFill>
                              <a:schemeClr val="tx2"/>
                            </a:solidFill>
                            <a:latin typeface="Cambria Math" panose="02040503050406030204" pitchFamily="18" charset="0"/>
                          </a:rPr>
                        </m:ctrlPr>
                      </m:sSubPr>
                      <m:e>
                        <m:r>
                          <a:rPr lang="en-US" altLang="ja-JP" b="1" i="1">
                            <a:solidFill>
                              <a:schemeClr val="tx2"/>
                            </a:solidFill>
                            <a:latin typeface="Cambria Math" panose="02040503050406030204" pitchFamily="18" charset="0"/>
                          </a:rPr>
                          <m:t>𝑷</m:t>
                        </m:r>
                        <m:r>
                          <a:rPr lang="en-US" altLang="ja-JP" b="1" i="1" smtClean="0">
                            <a:solidFill>
                              <a:schemeClr val="tx2"/>
                            </a:solidFill>
                            <a:latin typeface="Cambria Math" panose="02040503050406030204" pitchFamily="18" charset="0"/>
                          </a:rPr>
                          <m:t>𝑰𝑭</m:t>
                        </m:r>
                      </m:e>
                      <m:sub>
                        <m:r>
                          <a:rPr lang="en-US" altLang="ja-JP" b="1" i="1" smtClean="0">
                            <a:solidFill>
                              <a:schemeClr val="tx2"/>
                            </a:solidFill>
                            <a:latin typeface="Cambria Math" panose="02040503050406030204" pitchFamily="18" charset="0"/>
                          </a:rPr>
                          <m:t>𝑬𝑵𝑽</m:t>
                        </m:r>
                      </m:sub>
                    </m:sSub>
                  </m:oMath>
                </a14:m>
                <a:endParaRPr lang="en-US" altLang="ja-JP" b="1" dirty="0">
                  <a:solidFill>
                    <a:schemeClr val="tx2"/>
                  </a:solidFill>
                </a:endParaRPr>
              </a:p>
            </p:txBody>
          </p:sp>
        </mc:Choice>
        <mc:Fallback xmlns="">
          <p:sp>
            <p:nvSpPr>
              <p:cNvPr id="33" name="テキスト プレースホルダー 5">
                <a:extLst>
                  <a:ext uri="{FF2B5EF4-FFF2-40B4-BE49-F238E27FC236}">
                    <a16:creationId xmlns:a16="http://schemas.microsoft.com/office/drawing/2014/main" id="{FDE83261-F14C-0CC8-DCA5-161B54459586}"/>
                  </a:ext>
                </a:extLst>
              </p:cNvPr>
              <p:cNvSpPr txBox="1">
                <a:spLocks noRot="1" noChangeAspect="1" noMove="1" noResize="1" noEditPoints="1" noAdjustHandles="1" noChangeArrowheads="1" noChangeShapeType="1" noTextEdit="1"/>
              </p:cNvSpPr>
              <p:nvPr/>
            </p:nvSpPr>
            <p:spPr>
              <a:xfrm>
                <a:off x="2832182" y="2383808"/>
                <a:ext cx="3895831" cy="298516"/>
              </a:xfrm>
              <a:prstGeom prst="rect">
                <a:avLst/>
              </a:prstGeom>
              <a:blipFill>
                <a:blip r:embed="rId5"/>
                <a:stretch>
                  <a:fillRect t="-4000" b="-40000"/>
                </a:stretch>
              </a:blipFill>
            </p:spPr>
            <p:txBody>
              <a:bodyPr/>
              <a:lstStyle/>
              <a:p>
                <a:r>
                  <a:rPr lang="ja-JP" altLang="en-US">
                    <a:noFill/>
                  </a:rPr>
                  <a:t> </a:t>
                </a:r>
              </a:p>
            </p:txBody>
          </p:sp>
        </mc:Fallback>
      </mc:AlternateContent>
      <p:cxnSp>
        <p:nvCxnSpPr>
          <p:cNvPr id="34" name="直線コネクタ 33">
            <a:extLst>
              <a:ext uri="{FF2B5EF4-FFF2-40B4-BE49-F238E27FC236}">
                <a16:creationId xmlns:a16="http://schemas.microsoft.com/office/drawing/2014/main" id="{DBF4A436-3DEC-DB9C-2BCB-BB07595261E4}"/>
              </a:ext>
            </a:extLst>
          </p:cNvPr>
          <p:cNvCxnSpPr>
            <a:cxnSpLocks/>
          </p:cNvCxnSpPr>
          <p:nvPr/>
        </p:nvCxnSpPr>
        <p:spPr>
          <a:xfrm>
            <a:off x="3197326" y="2708786"/>
            <a:ext cx="240665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5" name="Picture 2">
            <a:extLst>
              <a:ext uri="{FF2B5EF4-FFF2-40B4-BE49-F238E27FC236}">
                <a16:creationId xmlns:a16="http://schemas.microsoft.com/office/drawing/2014/main" id="{BB3D1FF3-40F6-9598-22ED-B0B259EB15D5}"/>
              </a:ext>
            </a:extLst>
          </p:cNvPr>
          <p:cNvPicPr>
            <a:picLocks noChangeAspect="1"/>
          </p:cNvPicPr>
          <p:nvPr/>
        </p:nvPicPr>
        <p:blipFill>
          <a:blip r:embed="rId6"/>
          <a:srcRect l="3164" t="46051" r="65273" b="3247"/>
          <a:stretch>
            <a:fillRect/>
          </a:stretch>
        </p:blipFill>
        <p:spPr>
          <a:xfrm>
            <a:off x="2898200" y="2877471"/>
            <a:ext cx="2683672" cy="2404793"/>
          </a:xfrm>
          <a:prstGeom prst="rect">
            <a:avLst/>
          </a:prstGeom>
        </p:spPr>
      </p:pic>
      <p:sp>
        <p:nvSpPr>
          <p:cNvPr id="37" name="矢印: 右 25">
            <a:extLst>
              <a:ext uri="{FF2B5EF4-FFF2-40B4-BE49-F238E27FC236}">
                <a16:creationId xmlns:a16="http://schemas.microsoft.com/office/drawing/2014/main" id="{110B4FEA-4A56-91A2-772E-3AEAD2523F33}"/>
              </a:ext>
            </a:extLst>
          </p:cNvPr>
          <p:cNvSpPr/>
          <p:nvPr/>
        </p:nvSpPr>
        <p:spPr>
          <a:xfrm>
            <a:off x="2674642" y="3669227"/>
            <a:ext cx="330011" cy="32316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ja-JP" altLang="en-US" sz="1500" b="1" dirty="0"/>
          </a:p>
        </p:txBody>
      </p:sp>
      <p:grpSp>
        <p:nvGrpSpPr>
          <p:cNvPr id="39" name="グループ化 38">
            <a:extLst>
              <a:ext uri="{FF2B5EF4-FFF2-40B4-BE49-F238E27FC236}">
                <a16:creationId xmlns:a16="http://schemas.microsoft.com/office/drawing/2014/main" id="{E3525B74-B90E-6BDF-6105-8152B9413A2F}"/>
              </a:ext>
            </a:extLst>
          </p:cNvPr>
          <p:cNvGrpSpPr/>
          <p:nvPr/>
        </p:nvGrpSpPr>
        <p:grpSpPr>
          <a:xfrm>
            <a:off x="3524377" y="2763361"/>
            <a:ext cx="2324903" cy="703057"/>
            <a:chOff x="14903953" y="6380404"/>
            <a:chExt cx="2324902" cy="703056"/>
          </a:xfrm>
          <a:solidFill>
            <a:schemeClr val="bg1"/>
          </a:solidFill>
        </p:grpSpPr>
        <p:sp>
          <p:nvSpPr>
            <p:cNvPr id="40" name="角丸四角形吹き出し 39">
              <a:extLst>
                <a:ext uri="{FF2B5EF4-FFF2-40B4-BE49-F238E27FC236}">
                  <a16:creationId xmlns:a16="http://schemas.microsoft.com/office/drawing/2014/main" id="{687575C8-05B0-1310-461E-26E9EB8C0174}"/>
                </a:ext>
              </a:extLst>
            </p:cNvPr>
            <p:cNvSpPr/>
            <p:nvPr/>
          </p:nvSpPr>
          <p:spPr>
            <a:xfrm>
              <a:off x="15190253" y="6380404"/>
              <a:ext cx="1822977" cy="703056"/>
            </a:xfrm>
            <a:prstGeom prst="wedgeRoundRectCallout">
              <a:avLst>
                <a:gd name="adj1" fmla="val -69787"/>
                <a:gd name="adj2" fmla="val 25292"/>
                <a:gd name="adj3" fmla="val 16667"/>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mc:AlternateContent xmlns:mc="http://schemas.openxmlformats.org/markup-compatibility/2006" xmlns:a14="http://schemas.microsoft.com/office/drawing/2010/main">
          <mc:Choice Requires="a14">
            <p:sp>
              <p:nvSpPr>
                <p:cNvPr id="41" name="テキスト ボックス 40">
                  <a:extLst>
                    <a:ext uri="{FF2B5EF4-FFF2-40B4-BE49-F238E27FC236}">
                      <a16:creationId xmlns:a16="http://schemas.microsoft.com/office/drawing/2014/main" id="{386B7A19-6FE6-A620-1951-9900BA244C4E}"/>
                    </a:ext>
                  </a:extLst>
                </p:cNvPr>
                <p:cNvSpPr txBox="1"/>
                <p:nvPr/>
              </p:nvSpPr>
              <p:spPr>
                <a:xfrm>
                  <a:off x="14903953" y="6422237"/>
                  <a:ext cx="2324902" cy="600163"/>
                </a:xfrm>
                <a:prstGeom prst="rect">
                  <a:avLst/>
                </a:prstGeom>
                <a:noFill/>
              </p:spPr>
              <p:txBody>
                <a:bodyPr wrap="square">
                  <a:spAutoFit/>
                </a:bodyPr>
                <a:lstStyle/>
                <a:p>
                  <a:pPr marL="265844" lvl="1">
                    <a:spcBef>
                      <a:spcPts val="277"/>
                    </a:spcBef>
                  </a:pPr>
                  <a:r>
                    <a:rPr lang="ja-JP" altLang="ja-JP" sz="1100">
                      <a:solidFill>
                        <a:schemeClr val="tx2"/>
                      </a:solidFill>
                    </a:rPr>
                    <a:t>If VIS &lt; 1 m</a:t>
                  </a:r>
                  <a:r>
                    <a:rPr lang="en-US" altLang="ja-JP" sz="1100" dirty="0">
                      <a:solidFill>
                        <a:schemeClr val="tx2"/>
                      </a:solidFill>
                    </a:rPr>
                    <a:t> (</a:t>
                  </a:r>
                  <a:r>
                    <a:rPr lang="ja-JP" altLang="ja-JP" sz="1100">
                      <a:solidFill>
                        <a:schemeClr val="tx2"/>
                      </a:solidFill>
                    </a:rPr>
                    <a:t>Within arm’s reach</a:t>
                  </a:r>
                  <a:r>
                    <a:rPr lang="en-US" altLang="ja-JP" sz="1100" dirty="0">
                      <a:solidFill>
                        <a:schemeClr val="tx2"/>
                      </a:solidFill>
                    </a:rPr>
                    <a:t>)</a:t>
                  </a:r>
                  <a:r>
                    <a:rPr lang="ja-JP" altLang="ja-JP" sz="1100">
                      <a:solidFill>
                        <a:schemeClr val="tx2"/>
                      </a:solidFill>
                    </a:rPr>
                    <a:t>: Maximum penalty applied </a:t>
                  </a:r>
                  <a14:m>
                    <m:oMath xmlns:m="http://schemas.openxmlformats.org/officeDocument/2006/math">
                      <m:d>
                        <m:dPr>
                          <m:ctrlPr>
                            <a:rPr lang="ja-JP" altLang="en-US" sz="1100" i="1">
                              <a:solidFill>
                                <a:schemeClr val="tx2"/>
                              </a:solidFill>
                              <a:latin typeface="Cambria Math" panose="02040503050406030204" pitchFamily="18" charset="0"/>
                            </a:rPr>
                          </m:ctrlPr>
                        </m:dPr>
                        <m:e>
                          <m:r>
                            <a:rPr lang="ja-JP" altLang="en-US" sz="1100" i="1">
                              <a:solidFill>
                                <a:schemeClr val="tx2"/>
                              </a:solidFill>
                              <a:latin typeface="Cambria Math" panose="02040503050406030204" pitchFamily="18" charset="0"/>
                            </a:rPr>
                            <m:t>𝑃𝐼</m:t>
                          </m:r>
                          <m:sSub>
                            <m:sSubPr>
                              <m:ctrlPr>
                                <a:rPr lang="ja-JP" altLang="en-US" sz="1100" i="1">
                                  <a:solidFill>
                                    <a:schemeClr val="tx2"/>
                                  </a:solidFill>
                                  <a:latin typeface="Cambria Math" panose="02040503050406030204" pitchFamily="18" charset="0"/>
                                </a:rPr>
                              </m:ctrlPr>
                            </m:sSubPr>
                            <m:e>
                              <m:r>
                                <a:rPr lang="ja-JP" altLang="en-US" sz="1100" i="1">
                                  <a:solidFill>
                                    <a:schemeClr val="tx2"/>
                                  </a:solidFill>
                                  <a:latin typeface="Cambria Math" panose="02040503050406030204" pitchFamily="18" charset="0"/>
                                </a:rPr>
                                <m:t>𝐹</m:t>
                              </m:r>
                            </m:e>
                            <m:sub>
                              <m:r>
                                <m:rPr>
                                  <m:sty m:val="p"/>
                                </m:rPr>
                                <a:rPr lang="en-US" altLang="ja-JP" sz="1100">
                                  <a:solidFill>
                                    <a:schemeClr val="tx2"/>
                                  </a:solidFill>
                                  <a:latin typeface="Cambria Math" panose="02040503050406030204" pitchFamily="18" charset="0"/>
                                </a:rPr>
                                <m:t>ENV</m:t>
                              </m:r>
                            </m:sub>
                          </m:sSub>
                          <m:r>
                            <a:rPr lang="en-US" altLang="ja-JP" sz="1100">
                              <a:solidFill>
                                <a:schemeClr val="tx2"/>
                              </a:solidFill>
                              <a:latin typeface="Cambria Math" panose="02040503050406030204" pitchFamily="18" charset="0"/>
                            </a:rPr>
                            <m:t>=5</m:t>
                          </m:r>
                        </m:e>
                      </m:d>
                    </m:oMath>
                  </a14:m>
                  <a:r>
                    <a:rPr lang="ja-JP" altLang="ja-JP" sz="1100">
                      <a:solidFill>
                        <a:schemeClr val="tx2"/>
                      </a:solidFill>
                    </a:rPr>
                    <a:t>.</a:t>
                  </a:r>
                  <a:endParaRPr lang="en-US" altLang="ja-JP" sz="1100" i="1" dirty="0">
                    <a:solidFill>
                      <a:schemeClr val="tx2"/>
                    </a:solidFill>
                    <a:latin typeface="+mn-lt"/>
                    <a:ea typeface="+mn-ea"/>
                  </a:endParaRPr>
                </a:p>
              </p:txBody>
            </p:sp>
          </mc:Choice>
          <mc:Fallback xmlns="">
            <p:sp>
              <p:nvSpPr>
                <p:cNvPr id="41" name="テキスト ボックス 40">
                  <a:extLst>
                    <a:ext uri="{FF2B5EF4-FFF2-40B4-BE49-F238E27FC236}">
                      <a16:creationId xmlns:a16="http://schemas.microsoft.com/office/drawing/2014/main" id="{386B7A19-6FE6-A620-1951-9900BA244C4E}"/>
                    </a:ext>
                  </a:extLst>
                </p:cNvPr>
                <p:cNvSpPr txBox="1">
                  <a:spLocks noRot="1" noChangeAspect="1" noMove="1" noResize="1" noEditPoints="1" noAdjustHandles="1" noChangeArrowheads="1" noChangeShapeType="1" noTextEdit="1"/>
                </p:cNvSpPr>
                <p:nvPr/>
              </p:nvSpPr>
              <p:spPr>
                <a:xfrm>
                  <a:off x="14903953" y="6422237"/>
                  <a:ext cx="2324902" cy="600163"/>
                </a:xfrm>
                <a:prstGeom prst="rect">
                  <a:avLst/>
                </a:prstGeom>
                <a:blipFill>
                  <a:blip r:embed="rId7"/>
                  <a:stretch>
                    <a:fillRect b="-6122"/>
                  </a:stretch>
                </a:blipFill>
              </p:spPr>
              <p:txBody>
                <a:bodyPr/>
                <a:lstStyle/>
                <a:p>
                  <a:r>
                    <a:rPr lang="ja-JP" altLang="en-US">
                      <a:noFill/>
                    </a:rPr>
                    <a:t> </a:t>
                  </a:r>
                </a:p>
              </p:txBody>
            </p:sp>
          </mc:Fallback>
        </mc:AlternateContent>
      </p:grpSp>
      <p:sp>
        <p:nvSpPr>
          <p:cNvPr id="42" name="角丸四角形吹き出し 41">
            <a:extLst>
              <a:ext uri="{FF2B5EF4-FFF2-40B4-BE49-F238E27FC236}">
                <a16:creationId xmlns:a16="http://schemas.microsoft.com/office/drawing/2014/main" id="{210F9038-05EC-0A33-B033-A4EE1F82135F}"/>
              </a:ext>
            </a:extLst>
          </p:cNvPr>
          <p:cNvSpPr/>
          <p:nvPr/>
        </p:nvSpPr>
        <p:spPr>
          <a:xfrm>
            <a:off x="3810677" y="5238550"/>
            <a:ext cx="2143277" cy="576065"/>
          </a:xfrm>
          <a:prstGeom prst="wedgeRoundRectCallout">
            <a:avLst>
              <a:gd name="adj1" fmla="val 18779"/>
              <a:gd name="adj2" fmla="val -160455"/>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mc:AlternateContent xmlns:mc="http://schemas.openxmlformats.org/markup-compatibility/2006" xmlns:a14="http://schemas.microsoft.com/office/drawing/2010/main">
        <mc:Choice Requires="a14">
          <p:sp>
            <p:nvSpPr>
              <p:cNvPr id="43" name="テキスト ボックス 42">
                <a:extLst>
                  <a:ext uri="{FF2B5EF4-FFF2-40B4-BE49-F238E27FC236}">
                    <a16:creationId xmlns:a16="http://schemas.microsoft.com/office/drawing/2014/main" id="{3A36A0AA-6729-E319-8085-13867EEB4310}"/>
                  </a:ext>
                </a:extLst>
              </p:cNvPr>
              <p:cNvSpPr txBox="1"/>
              <p:nvPr/>
            </p:nvSpPr>
            <p:spPr>
              <a:xfrm>
                <a:off x="3538924" y="5343269"/>
                <a:ext cx="2447949" cy="430887"/>
              </a:xfrm>
              <a:prstGeom prst="rect">
                <a:avLst/>
              </a:prstGeom>
              <a:noFill/>
            </p:spPr>
            <p:txBody>
              <a:bodyPr wrap="square">
                <a:spAutoFit/>
              </a:bodyPr>
              <a:lstStyle/>
              <a:p>
                <a:pPr marL="265844" lvl="1">
                  <a:spcBef>
                    <a:spcPts val="277"/>
                  </a:spcBef>
                </a:pPr>
                <a:r>
                  <a:rPr lang="ja-JP" altLang="ja-JP" sz="1100">
                    <a:solidFill>
                      <a:schemeClr val="tx2"/>
                    </a:solidFill>
                  </a:rPr>
                  <a:t>If VIS &gt; 6 m</a:t>
                </a:r>
                <a:r>
                  <a:rPr lang="en-US" altLang="ja-JP" sz="1100" dirty="0">
                    <a:solidFill>
                      <a:schemeClr val="tx2"/>
                    </a:solidFill>
                  </a:rPr>
                  <a:t> (</a:t>
                </a:r>
                <a:r>
                  <a:rPr lang="ja-JP" altLang="ja-JP" sz="1100">
                    <a:solidFill>
                      <a:schemeClr val="tx2"/>
                    </a:solidFill>
                  </a:rPr>
                  <a:t>clearly perceived</a:t>
                </a:r>
                <a:r>
                  <a:rPr lang="en-US" altLang="ja-JP" sz="1100" dirty="0">
                    <a:solidFill>
                      <a:schemeClr val="tx2"/>
                    </a:solidFill>
                  </a:rPr>
                  <a:t>)</a:t>
                </a:r>
                <a:r>
                  <a:rPr lang="ja-JP" altLang="ja-JP" sz="1100">
                    <a:solidFill>
                      <a:schemeClr val="tx2"/>
                    </a:solidFill>
                  </a:rPr>
                  <a:t>: </a:t>
                </a:r>
                <a:br>
                  <a:rPr lang="en-US" altLang="ja-JP" sz="1100" dirty="0">
                    <a:solidFill>
                      <a:schemeClr val="tx2"/>
                    </a:solidFill>
                  </a:rPr>
                </a:br>
                <a:r>
                  <a:rPr lang="en-US" altLang="ja-JP" sz="1100" dirty="0">
                    <a:solidFill>
                      <a:schemeClr val="tx2"/>
                    </a:solidFill>
                  </a:rPr>
                  <a:t>N</a:t>
                </a:r>
                <a:r>
                  <a:rPr lang="ja-JP" altLang="ja-JP" sz="1100">
                    <a:solidFill>
                      <a:schemeClr val="tx2"/>
                    </a:solidFill>
                  </a:rPr>
                  <a:t>o penalty</a:t>
                </a:r>
                <a:r>
                  <a:rPr lang="en-US" altLang="ja-JP" sz="1100" dirty="0">
                    <a:solidFill>
                      <a:schemeClr val="tx2"/>
                    </a:solidFill>
                  </a:rPr>
                  <a:t> </a:t>
                </a:r>
                <a14:m>
                  <m:oMath xmlns:m="http://schemas.openxmlformats.org/officeDocument/2006/math">
                    <m:d>
                      <m:dPr>
                        <m:ctrlPr>
                          <a:rPr lang="ja-JP" altLang="en-US" sz="1100" i="1">
                            <a:solidFill>
                              <a:schemeClr val="tx2"/>
                            </a:solidFill>
                            <a:latin typeface="Cambria Math" panose="02040503050406030204" pitchFamily="18" charset="0"/>
                          </a:rPr>
                        </m:ctrlPr>
                      </m:dPr>
                      <m:e>
                        <m:r>
                          <a:rPr lang="ja-JP" altLang="en-US" sz="1100" i="1">
                            <a:solidFill>
                              <a:schemeClr val="tx2"/>
                            </a:solidFill>
                            <a:latin typeface="Cambria Math" panose="02040503050406030204" pitchFamily="18" charset="0"/>
                          </a:rPr>
                          <m:t>𝑃𝐼</m:t>
                        </m:r>
                        <m:sSub>
                          <m:sSubPr>
                            <m:ctrlPr>
                              <a:rPr lang="ja-JP" altLang="en-US" sz="1100" i="1">
                                <a:solidFill>
                                  <a:schemeClr val="tx2"/>
                                </a:solidFill>
                                <a:latin typeface="Cambria Math" panose="02040503050406030204" pitchFamily="18" charset="0"/>
                              </a:rPr>
                            </m:ctrlPr>
                          </m:sSubPr>
                          <m:e>
                            <m:r>
                              <a:rPr lang="ja-JP" altLang="en-US" sz="1100" i="1">
                                <a:solidFill>
                                  <a:schemeClr val="tx2"/>
                                </a:solidFill>
                                <a:latin typeface="Cambria Math" panose="02040503050406030204" pitchFamily="18" charset="0"/>
                              </a:rPr>
                              <m:t>𝐹</m:t>
                            </m:r>
                          </m:e>
                          <m:sub>
                            <m:r>
                              <m:rPr>
                                <m:sty m:val="p"/>
                              </m:rPr>
                              <a:rPr lang="en-US" altLang="ja-JP" sz="1100">
                                <a:solidFill>
                                  <a:schemeClr val="tx2"/>
                                </a:solidFill>
                                <a:latin typeface="Cambria Math" panose="02040503050406030204" pitchFamily="18" charset="0"/>
                              </a:rPr>
                              <m:t>ENV</m:t>
                            </m:r>
                          </m:sub>
                        </m:sSub>
                        <m:r>
                          <a:rPr lang="en-US" altLang="ja-JP" sz="1100">
                            <a:solidFill>
                              <a:schemeClr val="tx2"/>
                            </a:solidFill>
                            <a:latin typeface="Cambria Math" panose="02040503050406030204" pitchFamily="18" charset="0"/>
                          </a:rPr>
                          <m:t>=1</m:t>
                        </m:r>
                      </m:e>
                    </m:d>
                  </m:oMath>
                </a14:m>
                <a:r>
                  <a:rPr lang="ja-JP" altLang="ja-JP" sz="1100">
                    <a:solidFill>
                      <a:schemeClr val="tx2"/>
                    </a:solidFill>
                  </a:rPr>
                  <a:t>.</a:t>
                </a:r>
                <a:endParaRPr lang="en-US" altLang="ja-JP" sz="1100" i="1" dirty="0">
                  <a:solidFill>
                    <a:schemeClr val="tx2"/>
                  </a:solidFill>
                  <a:latin typeface="+mn-lt"/>
                  <a:ea typeface="+mn-ea"/>
                </a:endParaRPr>
              </a:p>
            </p:txBody>
          </p:sp>
        </mc:Choice>
        <mc:Fallback xmlns="">
          <p:sp>
            <p:nvSpPr>
              <p:cNvPr id="43" name="テキスト ボックス 42">
                <a:extLst>
                  <a:ext uri="{FF2B5EF4-FFF2-40B4-BE49-F238E27FC236}">
                    <a16:creationId xmlns:a16="http://schemas.microsoft.com/office/drawing/2014/main" id="{3A36A0AA-6729-E319-8085-13867EEB4310}"/>
                  </a:ext>
                </a:extLst>
              </p:cNvPr>
              <p:cNvSpPr txBox="1">
                <a:spLocks noRot="1" noChangeAspect="1" noMove="1" noResize="1" noEditPoints="1" noAdjustHandles="1" noChangeArrowheads="1" noChangeShapeType="1" noTextEdit="1"/>
              </p:cNvSpPr>
              <p:nvPr/>
            </p:nvSpPr>
            <p:spPr>
              <a:xfrm>
                <a:off x="3538924" y="5343269"/>
                <a:ext cx="2447949" cy="430887"/>
              </a:xfrm>
              <a:prstGeom prst="rect">
                <a:avLst/>
              </a:prstGeom>
              <a:blipFill>
                <a:blip r:embed="rId8"/>
                <a:stretch>
                  <a:fillRect b="-8571"/>
                </a:stretch>
              </a:blipFill>
            </p:spPr>
            <p:txBody>
              <a:bodyPr/>
              <a:lstStyle/>
              <a:p>
                <a:r>
                  <a:rPr lang="ja-JP" altLang="en-US">
                    <a:noFill/>
                  </a:rPr>
                  <a:t> </a:t>
                </a:r>
              </a:p>
            </p:txBody>
          </p:sp>
        </mc:Fallback>
      </mc:AlternateContent>
      <p:sp>
        <p:nvSpPr>
          <p:cNvPr id="44" name="角丸四角形吹き出し 43">
            <a:extLst>
              <a:ext uri="{FF2B5EF4-FFF2-40B4-BE49-F238E27FC236}">
                <a16:creationId xmlns:a16="http://schemas.microsoft.com/office/drawing/2014/main" id="{A9B8104C-75DA-AD48-798E-EBED949D5D41}"/>
              </a:ext>
            </a:extLst>
          </p:cNvPr>
          <p:cNvSpPr/>
          <p:nvPr/>
        </p:nvSpPr>
        <p:spPr>
          <a:xfrm>
            <a:off x="4390259" y="3643911"/>
            <a:ext cx="1618193" cy="669450"/>
          </a:xfrm>
          <a:prstGeom prst="wedgeRoundRectCallout">
            <a:avLst>
              <a:gd name="adj1" fmla="val -69389"/>
              <a:gd name="adj2" fmla="val 26119"/>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mc:AlternateContent xmlns:mc="http://schemas.openxmlformats.org/markup-compatibility/2006" xmlns:a14="http://schemas.microsoft.com/office/drawing/2010/main">
        <mc:Choice Requires="a14">
          <p:sp>
            <p:nvSpPr>
              <p:cNvPr id="45" name="テキスト ボックス 44">
                <a:extLst>
                  <a:ext uri="{FF2B5EF4-FFF2-40B4-BE49-F238E27FC236}">
                    <a16:creationId xmlns:a16="http://schemas.microsoft.com/office/drawing/2014/main" id="{8BAB022F-13EE-37D1-F895-3DD550413DD3}"/>
                  </a:ext>
                </a:extLst>
              </p:cNvPr>
              <p:cNvSpPr txBox="1"/>
              <p:nvPr/>
            </p:nvSpPr>
            <p:spPr>
              <a:xfrm>
                <a:off x="4174326" y="3676913"/>
                <a:ext cx="2111569" cy="600164"/>
              </a:xfrm>
              <a:prstGeom prst="rect">
                <a:avLst/>
              </a:prstGeom>
              <a:noFill/>
            </p:spPr>
            <p:txBody>
              <a:bodyPr wrap="square">
                <a:spAutoFit/>
              </a:bodyPr>
              <a:lstStyle/>
              <a:p>
                <a:pPr marL="265844" lvl="1">
                  <a:spcBef>
                    <a:spcPts val="277"/>
                  </a:spcBef>
                </a:pPr>
                <a:r>
                  <a:rPr lang="ja-JP" altLang="ja-JP" sz="1100">
                    <a:solidFill>
                      <a:schemeClr val="tx2"/>
                    </a:solidFill>
                  </a:rPr>
                  <a:t>Between 1 m and 6 m: </a:t>
                </a:r>
                <a14:m>
                  <m:oMath xmlns:m="http://schemas.openxmlformats.org/officeDocument/2006/math">
                    <m:r>
                      <a:rPr lang="ja-JP" altLang="en-US" sz="1100" i="1">
                        <a:solidFill>
                          <a:schemeClr val="tx2"/>
                        </a:solidFill>
                        <a:latin typeface="Cambria Math" panose="02040503050406030204" pitchFamily="18" charset="0"/>
                      </a:rPr>
                      <m:t>𝑃𝐼</m:t>
                    </m:r>
                    <m:sSub>
                      <m:sSubPr>
                        <m:ctrlPr>
                          <a:rPr lang="ja-JP" altLang="en-US" sz="1100" i="1">
                            <a:solidFill>
                              <a:schemeClr val="tx2"/>
                            </a:solidFill>
                            <a:latin typeface="Cambria Math" panose="02040503050406030204" pitchFamily="18" charset="0"/>
                          </a:rPr>
                        </m:ctrlPr>
                      </m:sSubPr>
                      <m:e>
                        <m:r>
                          <a:rPr lang="ja-JP" altLang="en-US" sz="1100" i="1">
                            <a:solidFill>
                              <a:schemeClr val="tx2"/>
                            </a:solidFill>
                            <a:latin typeface="Cambria Math" panose="02040503050406030204" pitchFamily="18" charset="0"/>
                          </a:rPr>
                          <m:t>𝐹</m:t>
                        </m:r>
                      </m:e>
                      <m:sub>
                        <m:r>
                          <m:rPr>
                            <m:sty m:val="p"/>
                          </m:rPr>
                          <a:rPr lang="en-US" altLang="ja-JP" sz="1100">
                            <a:solidFill>
                              <a:schemeClr val="tx2"/>
                            </a:solidFill>
                            <a:latin typeface="Cambria Math" panose="02040503050406030204" pitchFamily="18" charset="0"/>
                          </a:rPr>
                          <m:t>ENV</m:t>
                        </m:r>
                      </m:sub>
                    </m:sSub>
                  </m:oMath>
                </a14:m>
                <a:r>
                  <a:rPr lang="en-US" altLang="ja-JP" sz="1100" dirty="0">
                    <a:solidFill>
                      <a:schemeClr val="tx2"/>
                    </a:solidFill>
                  </a:rPr>
                  <a:t> </a:t>
                </a:r>
                <a:r>
                  <a:rPr lang="ja-JP" altLang="ja-JP" sz="1100">
                    <a:solidFill>
                      <a:schemeClr val="tx2"/>
                    </a:solidFill>
                  </a:rPr>
                  <a:t>scales exponentially.</a:t>
                </a:r>
                <a:endParaRPr lang="en-US" altLang="ja-JP" sz="1100" i="1" dirty="0">
                  <a:solidFill>
                    <a:schemeClr val="tx2"/>
                  </a:solidFill>
                  <a:latin typeface="+mn-lt"/>
                  <a:ea typeface="+mn-ea"/>
                </a:endParaRPr>
              </a:p>
            </p:txBody>
          </p:sp>
        </mc:Choice>
        <mc:Fallback xmlns="">
          <p:sp>
            <p:nvSpPr>
              <p:cNvPr id="45" name="テキスト ボックス 44">
                <a:extLst>
                  <a:ext uri="{FF2B5EF4-FFF2-40B4-BE49-F238E27FC236}">
                    <a16:creationId xmlns:a16="http://schemas.microsoft.com/office/drawing/2014/main" id="{8BAB022F-13EE-37D1-F895-3DD550413DD3}"/>
                  </a:ext>
                </a:extLst>
              </p:cNvPr>
              <p:cNvSpPr txBox="1">
                <a:spLocks noRot="1" noChangeAspect="1" noMove="1" noResize="1" noEditPoints="1" noAdjustHandles="1" noChangeArrowheads="1" noChangeShapeType="1" noTextEdit="1"/>
              </p:cNvSpPr>
              <p:nvPr/>
            </p:nvSpPr>
            <p:spPr>
              <a:xfrm>
                <a:off x="4174326" y="3676913"/>
                <a:ext cx="2111569" cy="600164"/>
              </a:xfrm>
              <a:prstGeom prst="rect">
                <a:avLst/>
              </a:prstGeom>
              <a:blipFill>
                <a:blip r:embed="rId9"/>
                <a:stretch>
                  <a:fillRect b="-6250"/>
                </a:stretch>
              </a:blipFill>
            </p:spPr>
            <p:txBody>
              <a:bodyPr/>
              <a:lstStyle/>
              <a:p>
                <a:r>
                  <a:rPr lang="ja-JP" altLang="en-US">
                    <a:noFill/>
                  </a:rPr>
                  <a:t> </a:t>
                </a:r>
              </a:p>
            </p:txBody>
          </p:sp>
        </mc:Fallback>
      </mc:AlternateContent>
      <p:pic>
        <p:nvPicPr>
          <p:cNvPr id="51" name="Picture 2">
            <a:extLst>
              <a:ext uri="{FF2B5EF4-FFF2-40B4-BE49-F238E27FC236}">
                <a16:creationId xmlns:a16="http://schemas.microsoft.com/office/drawing/2014/main" id="{1B669583-9CD3-C12A-8787-E836B57B46A5}"/>
              </a:ext>
            </a:extLst>
          </p:cNvPr>
          <p:cNvPicPr>
            <a:picLocks noChangeAspect="1"/>
          </p:cNvPicPr>
          <p:nvPr/>
        </p:nvPicPr>
        <p:blipFill>
          <a:blip r:embed="rId10"/>
          <a:srcRect l="4374" t="24008" r="57345" b="25491"/>
          <a:stretch>
            <a:fillRect/>
          </a:stretch>
        </p:blipFill>
        <p:spPr>
          <a:xfrm>
            <a:off x="915907" y="5323132"/>
            <a:ext cx="1530068" cy="1125949"/>
          </a:xfrm>
          <a:prstGeom prst="rect">
            <a:avLst/>
          </a:prstGeom>
        </p:spPr>
      </p:pic>
      <p:pic>
        <p:nvPicPr>
          <p:cNvPr id="32" name="グラフィックス 31" descr="男性 単色塗りつぶし">
            <a:extLst>
              <a:ext uri="{FF2B5EF4-FFF2-40B4-BE49-F238E27FC236}">
                <a16:creationId xmlns:a16="http://schemas.microsoft.com/office/drawing/2014/main" id="{7BAA10C8-2C02-46F3-C93F-63235E85F4FF}"/>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655271" y="5778541"/>
            <a:ext cx="474760" cy="478752"/>
          </a:xfrm>
          <a:prstGeom prst="rect">
            <a:avLst/>
          </a:prstGeom>
        </p:spPr>
      </p:pic>
      <p:sp>
        <p:nvSpPr>
          <p:cNvPr id="52" name="矢印: 右 25">
            <a:extLst>
              <a:ext uri="{FF2B5EF4-FFF2-40B4-BE49-F238E27FC236}">
                <a16:creationId xmlns:a16="http://schemas.microsoft.com/office/drawing/2014/main" id="{48A095DF-7D2E-F895-B093-232645218AAD}"/>
              </a:ext>
            </a:extLst>
          </p:cNvPr>
          <p:cNvSpPr/>
          <p:nvPr/>
        </p:nvSpPr>
        <p:spPr>
          <a:xfrm>
            <a:off x="6161495" y="3785812"/>
            <a:ext cx="330011" cy="32316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ja-JP" altLang="en-US" sz="1500" b="1" dirty="0"/>
          </a:p>
        </p:txBody>
      </p:sp>
      <p:pic>
        <p:nvPicPr>
          <p:cNvPr id="53" name="Picture 2">
            <a:extLst>
              <a:ext uri="{FF2B5EF4-FFF2-40B4-BE49-F238E27FC236}">
                <a16:creationId xmlns:a16="http://schemas.microsoft.com/office/drawing/2014/main" id="{F7F171C5-8EB4-05AF-1301-836E23D5423A}"/>
              </a:ext>
            </a:extLst>
          </p:cNvPr>
          <p:cNvPicPr>
            <a:picLocks noChangeAspect="1"/>
          </p:cNvPicPr>
          <p:nvPr/>
        </p:nvPicPr>
        <p:blipFill>
          <a:blip r:embed="rId6"/>
          <a:srcRect l="65981" t="48937" r="2735" b="1710"/>
          <a:stretch>
            <a:fillRect/>
          </a:stretch>
        </p:blipFill>
        <p:spPr>
          <a:xfrm>
            <a:off x="6980156" y="4874009"/>
            <a:ext cx="1800201" cy="1584176"/>
          </a:xfrm>
          <a:prstGeom prst="rect">
            <a:avLst/>
          </a:prstGeom>
        </p:spPr>
      </p:pic>
      <p:pic>
        <p:nvPicPr>
          <p:cNvPr id="54" name="Picture 2">
            <a:extLst>
              <a:ext uri="{FF2B5EF4-FFF2-40B4-BE49-F238E27FC236}">
                <a16:creationId xmlns:a16="http://schemas.microsoft.com/office/drawing/2014/main" id="{935FA4F2-A645-CE8F-8B15-B56C8551C2E5}"/>
              </a:ext>
            </a:extLst>
          </p:cNvPr>
          <p:cNvPicPr>
            <a:picLocks noChangeAspect="1"/>
          </p:cNvPicPr>
          <p:nvPr/>
        </p:nvPicPr>
        <p:blipFill>
          <a:blip r:embed="rId6"/>
          <a:srcRect l="35502" t="47385" r="33979" b="3557"/>
          <a:stretch>
            <a:fillRect/>
          </a:stretch>
        </p:blipFill>
        <p:spPr>
          <a:xfrm>
            <a:off x="6907459" y="2911229"/>
            <a:ext cx="1756230" cy="1574708"/>
          </a:xfrm>
          <a:prstGeom prst="rect">
            <a:avLst/>
          </a:prstGeom>
        </p:spPr>
      </p:pic>
      <p:sp>
        <p:nvSpPr>
          <p:cNvPr id="55" name="テキスト プレースホルダー 5">
            <a:extLst>
              <a:ext uri="{FF2B5EF4-FFF2-40B4-BE49-F238E27FC236}">
                <a16:creationId xmlns:a16="http://schemas.microsoft.com/office/drawing/2014/main" id="{EF3789F8-A163-7A74-3486-1DF8B6D8CA53}"/>
              </a:ext>
            </a:extLst>
          </p:cNvPr>
          <p:cNvSpPr txBox="1">
            <a:spLocks/>
          </p:cNvSpPr>
          <p:nvPr/>
        </p:nvSpPr>
        <p:spPr>
          <a:xfrm>
            <a:off x="6161495" y="2371360"/>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3. Link to </a:t>
            </a:r>
            <a:r>
              <a:rPr lang="en-US" altLang="zh-TW" b="1" dirty="0">
                <a:solidFill>
                  <a:schemeClr val="tx2"/>
                </a:solidFill>
              </a:rPr>
              <a:t>HEP</a:t>
            </a:r>
            <a:r>
              <a:rPr lang="en-US" altLang="ja-JP" b="1" dirty="0">
                <a:solidFill>
                  <a:schemeClr val="tx2"/>
                </a:solidFill>
              </a:rPr>
              <a:t>  </a:t>
            </a:r>
          </a:p>
        </p:txBody>
      </p:sp>
      <p:cxnSp>
        <p:nvCxnSpPr>
          <p:cNvPr id="56" name="直線コネクタ 55">
            <a:extLst>
              <a:ext uri="{FF2B5EF4-FFF2-40B4-BE49-F238E27FC236}">
                <a16:creationId xmlns:a16="http://schemas.microsoft.com/office/drawing/2014/main" id="{92E9EC44-5397-7467-9DED-ED51622D7FFD}"/>
              </a:ext>
            </a:extLst>
          </p:cNvPr>
          <p:cNvCxnSpPr>
            <a:cxnSpLocks/>
          </p:cNvCxnSpPr>
          <p:nvPr/>
        </p:nvCxnSpPr>
        <p:spPr>
          <a:xfrm>
            <a:off x="6526639" y="2696338"/>
            <a:ext cx="240665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 name="テキスト ボックス 10">
                <a:extLst>
                  <a:ext uri="{FF2B5EF4-FFF2-40B4-BE49-F238E27FC236}">
                    <a16:creationId xmlns:a16="http://schemas.microsoft.com/office/drawing/2014/main" id="{77DF4AC8-9CA1-6453-94B2-D41CA91F30F4}"/>
                  </a:ext>
                </a:extLst>
              </p:cNvPr>
              <p:cNvSpPr txBox="1"/>
              <p:nvPr/>
            </p:nvSpPr>
            <p:spPr>
              <a:xfrm>
                <a:off x="5938081" y="2718781"/>
                <a:ext cx="3355378" cy="33534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sz="1400" i="1">
                              <a:latin typeface="Cambria Math" panose="02040503050406030204" pitchFamily="18" charset="0"/>
                            </a:rPr>
                          </m:ctrlPr>
                        </m:sSubSupPr>
                        <m:e>
                          <m:r>
                            <a:rPr lang="ja-JP" altLang="en-US" sz="1400" i="1">
                              <a:latin typeface="Cambria Math" panose="02040503050406030204" pitchFamily="18" charset="0"/>
                            </a:rPr>
                            <m:t>𝐻𝐸𝑃</m:t>
                          </m:r>
                        </m:e>
                        <m:sub>
                          <m:r>
                            <a:rPr lang="ja-JP" altLang="en-US" sz="1400" i="1">
                              <a:latin typeface="Cambria Math" panose="02040503050406030204" pitchFamily="18" charset="0"/>
                            </a:rPr>
                            <m:t>𝑡𝑎𝑠𝑘</m:t>
                          </m:r>
                          <m:r>
                            <a:rPr lang="ja-JP" altLang="en-US" sz="1400" i="0">
                              <a:latin typeface="Cambria Math" panose="02040503050406030204" pitchFamily="18" charset="0"/>
                            </a:rPr>
                            <m:t>1</m:t>
                          </m:r>
                        </m:sub>
                        <m:sup/>
                      </m:sSubSup>
                      <m:r>
                        <a:rPr lang="ja-JP" altLang="en-US" sz="1400" i="0">
                          <a:latin typeface="Cambria Math" panose="02040503050406030204" pitchFamily="18" charset="0"/>
                        </a:rPr>
                        <m:t>=</m:t>
                      </m:r>
                      <m:r>
                        <a:rPr lang="en" altLang="ja-JP" sz="1400" i="1">
                          <a:latin typeface="Cambria Math" panose="02040503050406030204" pitchFamily="18" charset="0"/>
                        </a:rPr>
                        <m:t>1.00</m:t>
                      </m:r>
                      <m:r>
                        <a:rPr lang="en" altLang="ja-JP" sz="1400" i="1">
                          <a:latin typeface="Cambria Math" panose="02040503050406030204" pitchFamily="18" charset="0"/>
                        </a:rPr>
                        <m:t>𝐸</m:t>
                      </m:r>
                      <m:r>
                        <a:rPr lang="en" altLang="ja-JP" sz="1400" i="1">
                          <a:latin typeface="Cambria Math" panose="02040503050406030204" pitchFamily="18" charset="0"/>
                        </a:rPr>
                        <m:t>−04[</m:t>
                      </m:r>
                      <m:sSubSup>
                        <m:sSubSupPr>
                          <m:ctrlPr>
                            <a:rPr lang="ja-JP" altLang="en-US" sz="1400" i="1">
                              <a:solidFill>
                                <a:srgbClr val="C00000"/>
                              </a:solidFill>
                              <a:latin typeface="Cambria Math" panose="02040503050406030204" pitchFamily="18" charset="0"/>
                            </a:rPr>
                          </m:ctrlPr>
                        </m:sSubSupPr>
                        <m:e>
                          <m:r>
                            <a:rPr lang="ja-JP" altLang="en-US" sz="1400" i="1">
                              <a:solidFill>
                                <a:srgbClr val="C00000"/>
                              </a:solidFill>
                              <a:latin typeface="Cambria Math" panose="02040503050406030204" pitchFamily="18" charset="0"/>
                            </a:rPr>
                            <m:t>𝑃𝐼𝐹</m:t>
                          </m:r>
                        </m:e>
                        <m:sub>
                          <m:r>
                            <a:rPr lang="ja-JP" altLang="en-US" sz="1400" i="1">
                              <a:solidFill>
                                <a:srgbClr val="C00000"/>
                              </a:solidFill>
                              <a:latin typeface="Cambria Math" panose="02040503050406030204" pitchFamily="18" charset="0"/>
                            </a:rPr>
                            <m:t>𝐸𝑁𝑉</m:t>
                          </m:r>
                        </m:sub>
                        <m:sup/>
                      </m:sSubSup>
                      <m:r>
                        <a:rPr lang="ja-JP" altLang="en-US" sz="1400" i="0">
                          <a:latin typeface="Cambria Math" panose="02040503050406030204" pitchFamily="18" charset="0"/>
                        </a:rPr>
                        <m:t>]</m:t>
                      </m:r>
                    </m:oMath>
                  </m:oMathPara>
                </a14:m>
                <a:endParaRPr lang="ja-JP" altLang="en-US" sz="1400"/>
              </a:p>
            </p:txBody>
          </p:sp>
        </mc:Choice>
        <mc:Fallback xmlns="">
          <p:sp>
            <p:nvSpPr>
              <p:cNvPr id="11" name="テキスト ボックス 10">
                <a:extLst>
                  <a:ext uri="{FF2B5EF4-FFF2-40B4-BE49-F238E27FC236}">
                    <a16:creationId xmlns:a16="http://schemas.microsoft.com/office/drawing/2014/main" id="{77DF4AC8-9CA1-6453-94B2-D41CA91F30F4}"/>
                  </a:ext>
                </a:extLst>
              </p:cNvPr>
              <p:cNvSpPr txBox="1">
                <a:spLocks noRot="1" noChangeAspect="1" noMove="1" noResize="1" noEditPoints="1" noAdjustHandles="1" noChangeArrowheads="1" noChangeShapeType="1" noTextEdit="1"/>
              </p:cNvSpPr>
              <p:nvPr/>
            </p:nvSpPr>
            <p:spPr>
              <a:xfrm>
                <a:off x="5938081" y="2718781"/>
                <a:ext cx="3355378" cy="335348"/>
              </a:xfrm>
              <a:prstGeom prst="rect">
                <a:avLst/>
              </a:prstGeom>
              <a:blipFill>
                <a:blip r:embed="rId12"/>
                <a:stretch>
                  <a:fillRect b="-11111"/>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2" name="テキスト ボックス 11">
                <a:extLst>
                  <a:ext uri="{FF2B5EF4-FFF2-40B4-BE49-F238E27FC236}">
                    <a16:creationId xmlns:a16="http://schemas.microsoft.com/office/drawing/2014/main" id="{1D5E494D-803B-B165-F5AD-0FDB96CC950C}"/>
                  </a:ext>
                </a:extLst>
              </p:cNvPr>
              <p:cNvSpPr txBox="1"/>
              <p:nvPr/>
            </p:nvSpPr>
            <p:spPr>
              <a:xfrm>
                <a:off x="6008452" y="4584423"/>
                <a:ext cx="3355378" cy="33534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sz="1400" i="1">
                              <a:latin typeface="Cambria Math" panose="02040503050406030204" pitchFamily="18" charset="0"/>
                            </a:rPr>
                          </m:ctrlPr>
                        </m:sSubSupPr>
                        <m:e>
                          <m:r>
                            <a:rPr lang="ja-JP" altLang="en-US" sz="1400" i="1">
                              <a:latin typeface="Cambria Math" panose="02040503050406030204" pitchFamily="18" charset="0"/>
                            </a:rPr>
                            <m:t>𝐻𝐸𝑃</m:t>
                          </m:r>
                        </m:e>
                        <m:sub>
                          <m:r>
                            <a:rPr lang="ja-JP" altLang="en-US" sz="1400" i="1">
                              <a:latin typeface="Cambria Math" panose="02040503050406030204" pitchFamily="18" charset="0"/>
                            </a:rPr>
                            <m:t>𝑡𝑎𝑠𝑘</m:t>
                          </m:r>
                          <m:r>
                            <a:rPr lang="en-US" altLang="ja-JP" sz="1400" b="0" i="0" smtClean="0">
                              <a:latin typeface="Cambria Math" panose="02040503050406030204" pitchFamily="18" charset="0"/>
                            </a:rPr>
                            <m:t>2</m:t>
                          </m:r>
                        </m:sub>
                        <m:sup/>
                      </m:sSubSup>
                      <m:r>
                        <a:rPr lang="ja-JP" altLang="en-US" sz="1400" i="0">
                          <a:latin typeface="Cambria Math" panose="02040503050406030204" pitchFamily="18" charset="0"/>
                        </a:rPr>
                        <m:t>=</m:t>
                      </m:r>
                      <m:r>
                        <a:rPr lang="en" altLang="ja-JP" sz="1400" i="1">
                          <a:latin typeface="Cambria Math" panose="02040503050406030204" pitchFamily="18" charset="0"/>
                        </a:rPr>
                        <m:t>1.00</m:t>
                      </m:r>
                      <m:r>
                        <a:rPr lang="en" altLang="ja-JP" sz="1400" i="1">
                          <a:latin typeface="Cambria Math" panose="02040503050406030204" pitchFamily="18" charset="0"/>
                        </a:rPr>
                        <m:t>𝐸</m:t>
                      </m:r>
                      <m:r>
                        <a:rPr lang="en" altLang="ja-JP" sz="1400" i="1">
                          <a:latin typeface="Cambria Math" panose="02040503050406030204" pitchFamily="18" charset="0"/>
                        </a:rPr>
                        <m:t>−03[1+</m:t>
                      </m:r>
                      <m:sSubSup>
                        <m:sSubSupPr>
                          <m:ctrlPr>
                            <a:rPr lang="ja-JP" altLang="en-US" sz="1400" i="1">
                              <a:solidFill>
                                <a:srgbClr val="C00000"/>
                              </a:solidFill>
                              <a:latin typeface="Cambria Math" panose="02040503050406030204" pitchFamily="18" charset="0"/>
                            </a:rPr>
                          </m:ctrlPr>
                        </m:sSubSupPr>
                        <m:e>
                          <m:r>
                            <a:rPr lang="ja-JP" altLang="en-US" sz="1400" i="1">
                              <a:solidFill>
                                <a:srgbClr val="C00000"/>
                              </a:solidFill>
                              <a:latin typeface="Cambria Math" panose="02040503050406030204" pitchFamily="18" charset="0"/>
                            </a:rPr>
                            <m:t>𝑃𝐼𝐹</m:t>
                          </m:r>
                        </m:e>
                        <m:sub>
                          <m:r>
                            <a:rPr lang="ja-JP" altLang="en-US" sz="1400" i="1">
                              <a:solidFill>
                                <a:srgbClr val="C00000"/>
                              </a:solidFill>
                              <a:latin typeface="Cambria Math" panose="02040503050406030204" pitchFamily="18" charset="0"/>
                            </a:rPr>
                            <m:t>𝐸𝑁𝑉</m:t>
                          </m:r>
                        </m:sub>
                        <m:sup/>
                      </m:sSubSup>
                      <m:r>
                        <a:rPr lang="ja-JP" altLang="en-US" sz="1400" i="0">
                          <a:latin typeface="Cambria Math" panose="02040503050406030204" pitchFamily="18" charset="0"/>
                        </a:rPr>
                        <m:t>]</m:t>
                      </m:r>
                    </m:oMath>
                  </m:oMathPara>
                </a14:m>
                <a:endParaRPr lang="ja-JP" altLang="en-US" sz="1400"/>
              </a:p>
            </p:txBody>
          </p:sp>
        </mc:Choice>
        <mc:Fallback xmlns="">
          <p:sp>
            <p:nvSpPr>
              <p:cNvPr id="12" name="テキスト ボックス 11">
                <a:extLst>
                  <a:ext uri="{FF2B5EF4-FFF2-40B4-BE49-F238E27FC236}">
                    <a16:creationId xmlns:a16="http://schemas.microsoft.com/office/drawing/2014/main" id="{1D5E494D-803B-B165-F5AD-0FDB96CC950C}"/>
                  </a:ext>
                </a:extLst>
              </p:cNvPr>
              <p:cNvSpPr txBox="1">
                <a:spLocks noRot="1" noChangeAspect="1" noMove="1" noResize="1" noEditPoints="1" noAdjustHandles="1" noChangeArrowheads="1" noChangeShapeType="1" noTextEdit="1"/>
              </p:cNvSpPr>
              <p:nvPr/>
            </p:nvSpPr>
            <p:spPr>
              <a:xfrm>
                <a:off x="6008452" y="4584423"/>
                <a:ext cx="3355378" cy="335348"/>
              </a:xfrm>
              <a:prstGeom prst="rect">
                <a:avLst/>
              </a:prstGeom>
              <a:blipFill>
                <a:blip r:embed="rId13"/>
                <a:stretch>
                  <a:fillRect b="-10714"/>
                </a:stretch>
              </a:blipFill>
            </p:spPr>
            <p:txBody>
              <a:bodyPr/>
              <a:lstStyle/>
              <a:p>
                <a:r>
                  <a:rPr lang="ja-JP" altLang="en-US">
                    <a:noFill/>
                  </a:rPr>
                  <a:t> </a:t>
                </a:r>
              </a:p>
            </p:txBody>
          </p:sp>
        </mc:Fallback>
      </mc:AlternateContent>
      <p:sp>
        <p:nvSpPr>
          <p:cNvPr id="58" name="テキスト ボックス 57">
            <a:extLst>
              <a:ext uri="{FF2B5EF4-FFF2-40B4-BE49-F238E27FC236}">
                <a16:creationId xmlns:a16="http://schemas.microsoft.com/office/drawing/2014/main" id="{205755B6-DB68-DB8A-FF37-F5DF51861518}"/>
              </a:ext>
            </a:extLst>
          </p:cNvPr>
          <p:cNvSpPr txBox="1"/>
          <p:nvPr/>
        </p:nvSpPr>
        <p:spPr>
          <a:xfrm>
            <a:off x="314947" y="6260596"/>
            <a:ext cx="3177580" cy="292388"/>
          </a:xfrm>
          <a:prstGeom prst="rect">
            <a:avLst/>
          </a:prstGeom>
          <a:noFill/>
        </p:spPr>
        <p:txBody>
          <a:bodyPr wrap="square">
            <a:spAutoFit/>
          </a:bodyPr>
          <a:lstStyle/>
          <a:p>
            <a:r>
              <a:rPr lang="en-US" altLang="ja-JP" sz="1300" b="1" i="1" dirty="0">
                <a:solidFill>
                  <a:srgbClr val="C00000"/>
                </a:solidFill>
                <a:latin typeface="+mn-lt"/>
                <a:ea typeface="+mn-ea"/>
              </a:rPr>
              <a:t>Working Environment’s Dynamic</a:t>
            </a:r>
            <a:endParaRPr lang="ja-JP" altLang="en-US" sz="1300" b="1" i="1">
              <a:solidFill>
                <a:srgbClr val="C00000"/>
              </a:solidFill>
              <a:latin typeface="+mn-lt"/>
              <a:ea typeface="+mn-ea"/>
            </a:endParaRPr>
          </a:p>
        </p:txBody>
      </p:sp>
      <p:sp>
        <p:nvSpPr>
          <p:cNvPr id="59" name="角丸四角形吹き出し 58">
            <a:extLst>
              <a:ext uri="{FF2B5EF4-FFF2-40B4-BE49-F238E27FC236}">
                <a16:creationId xmlns:a16="http://schemas.microsoft.com/office/drawing/2014/main" id="{4A3B2C18-76FE-88B3-A076-DFA1B3208916}"/>
              </a:ext>
            </a:extLst>
          </p:cNvPr>
          <p:cNvSpPr/>
          <p:nvPr/>
        </p:nvSpPr>
        <p:spPr>
          <a:xfrm>
            <a:off x="282028" y="5295351"/>
            <a:ext cx="2849812" cy="1229993"/>
          </a:xfrm>
          <a:prstGeom prst="wedgeRoundRectCallout">
            <a:avLst>
              <a:gd name="adj1" fmla="val 3182"/>
              <a:gd name="adj2" fmla="val -69085"/>
              <a:gd name="adj3" fmla="val 16667"/>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6657889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FD899B-317E-98A1-9384-58B666F664BF}"/>
            </a:ext>
          </a:extLst>
        </p:cNvPr>
        <p:cNvGrpSpPr/>
        <p:nvPr/>
      </p:nvGrpSpPr>
      <p:grpSpPr>
        <a:xfrm>
          <a:off x="0" y="0"/>
          <a:ext cx="0" cy="0"/>
          <a:chOff x="0" y="0"/>
          <a:chExt cx="0" cy="0"/>
        </a:xfrm>
      </p:grpSpPr>
      <p:sp>
        <p:nvSpPr>
          <p:cNvPr id="108" name="角丸四角形吹き出し 107">
            <a:extLst>
              <a:ext uri="{FF2B5EF4-FFF2-40B4-BE49-F238E27FC236}">
                <a16:creationId xmlns:a16="http://schemas.microsoft.com/office/drawing/2014/main" id="{F14854DA-7C4D-0251-8357-836561D28C19}"/>
              </a:ext>
            </a:extLst>
          </p:cNvPr>
          <p:cNvSpPr/>
          <p:nvPr/>
        </p:nvSpPr>
        <p:spPr>
          <a:xfrm>
            <a:off x="3142882" y="4804001"/>
            <a:ext cx="5781146" cy="1688090"/>
          </a:xfrm>
          <a:prstGeom prst="wedgeRoundRectCallout">
            <a:avLst>
              <a:gd name="adj1" fmla="val 15185"/>
              <a:gd name="adj2" fmla="val -95593"/>
              <a:gd name="adj3" fmla="val 16667"/>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mc:AlternateContent xmlns:mc="http://schemas.openxmlformats.org/markup-compatibility/2006" xmlns:a14="http://schemas.microsoft.com/office/drawing/2010/main">
        <mc:Choice Requires="a14">
          <p:sp>
            <p:nvSpPr>
              <p:cNvPr id="83" name="テキスト プレースホルダー 5">
                <a:extLst>
                  <a:ext uri="{FF2B5EF4-FFF2-40B4-BE49-F238E27FC236}">
                    <a16:creationId xmlns:a16="http://schemas.microsoft.com/office/drawing/2014/main" id="{DC49D428-02D9-B32D-AA39-5642D798981D}"/>
                  </a:ext>
                </a:extLst>
              </p:cNvPr>
              <p:cNvSpPr txBox="1">
                <a:spLocks/>
              </p:cNvSpPr>
              <p:nvPr/>
            </p:nvSpPr>
            <p:spPr>
              <a:xfrm>
                <a:off x="2797135" y="2799162"/>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2. </a:t>
                </a:r>
                <a:r>
                  <a:rPr lang="en-US" altLang="zh-TW" b="1" dirty="0">
                    <a:solidFill>
                      <a:schemeClr val="tx2"/>
                    </a:solidFill>
                  </a:rPr>
                  <a:t>Link to Erlang Parameter (</a:t>
                </a:r>
                <a14:m>
                  <m:oMath xmlns:m="http://schemas.openxmlformats.org/officeDocument/2006/math">
                    <m:r>
                      <a:rPr lang="en-US" altLang="zh-TW" b="1" i="1" smtClean="0">
                        <a:solidFill>
                          <a:schemeClr val="tx2"/>
                        </a:solidFill>
                        <a:latin typeface="Cambria Math" panose="02040503050406030204" pitchFamily="18" charset="0"/>
                        <a:ea typeface="Cambria Math" panose="02040503050406030204" pitchFamily="18" charset="0"/>
                      </a:rPr>
                      <m:t>𝜷</m:t>
                    </m:r>
                  </m:oMath>
                </a14:m>
                <a:r>
                  <a:rPr lang="en-US" altLang="zh-TW" b="1" dirty="0">
                    <a:solidFill>
                      <a:schemeClr val="tx2"/>
                    </a:solidFill>
                  </a:rPr>
                  <a:t>)</a:t>
                </a:r>
                <a:endParaRPr lang="en-US" altLang="ja-JP" b="1" dirty="0">
                  <a:solidFill>
                    <a:schemeClr val="tx2"/>
                  </a:solidFill>
                </a:endParaRPr>
              </a:p>
            </p:txBody>
          </p:sp>
        </mc:Choice>
        <mc:Fallback xmlns="">
          <p:sp>
            <p:nvSpPr>
              <p:cNvPr id="83" name="テキスト プレースホルダー 5">
                <a:extLst>
                  <a:ext uri="{FF2B5EF4-FFF2-40B4-BE49-F238E27FC236}">
                    <a16:creationId xmlns:a16="http://schemas.microsoft.com/office/drawing/2014/main" id="{DC49D428-02D9-B32D-AA39-5642D798981D}"/>
                  </a:ext>
                </a:extLst>
              </p:cNvPr>
              <p:cNvSpPr txBox="1">
                <a:spLocks noRot="1" noChangeAspect="1" noMove="1" noResize="1" noEditPoints="1" noAdjustHandles="1" noChangeArrowheads="1" noChangeShapeType="1" noTextEdit="1"/>
              </p:cNvSpPr>
              <p:nvPr/>
            </p:nvSpPr>
            <p:spPr>
              <a:xfrm>
                <a:off x="2797135" y="2799162"/>
                <a:ext cx="3895831" cy="298516"/>
              </a:xfrm>
              <a:prstGeom prst="rect">
                <a:avLst/>
              </a:prstGeom>
              <a:blipFill>
                <a:blip r:embed="rId3"/>
                <a:stretch>
                  <a:fillRect t="-8333" b="-41667"/>
                </a:stretch>
              </a:blipFill>
            </p:spPr>
            <p:txBody>
              <a:bodyPr/>
              <a:lstStyle/>
              <a:p>
                <a:r>
                  <a:rPr lang="ja-JP" altLang="en-US">
                    <a:noFill/>
                  </a:rPr>
                  <a:t> </a:t>
                </a:r>
              </a:p>
            </p:txBody>
          </p:sp>
        </mc:Fallback>
      </mc:AlternateContent>
      <p:sp>
        <p:nvSpPr>
          <p:cNvPr id="2" name="タイトル 1">
            <a:extLst>
              <a:ext uri="{FF2B5EF4-FFF2-40B4-BE49-F238E27FC236}">
                <a16:creationId xmlns:a16="http://schemas.microsoft.com/office/drawing/2014/main" id="{10E13A5E-D118-1B43-8CD9-237427AAF26F}"/>
              </a:ext>
            </a:extLst>
          </p:cNvPr>
          <p:cNvSpPr>
            <a:spLocks noGrp="1"/>
          </p:cNvSpPr>
          <p:nvPr>
            <p:ph type="title"/>
          </p:nvPr>
        </p:nvSpPr>
        <p:spPr>
          <a:xfrm>
            <a:off x="374496" y="332656"/>
            <a:ext cx="8769504" cy="779116"/>
          </a:xfrm>
        </p:spPr>
        <p:txBody>
          <a:bodyPr/>
          <a:lstStyle/>
          <a:p>
            <a:pPr algn="l"/>
            <a:r>
              <a:rPr lang="en-US" altLang="ja-JP" dirty="0"/>
              <a:t>Scenario-Specific Adaptation </a:t>
            </a:r>
            <a:r>
              <a:rPr lang="en-US" altLang="zh-TW" sz="1800" dirty="0">
                <a:cs typeface="Calibri" panose="020F0502020204030204" pitchFamily="34" charset="0"/>
              </a:rPr>
              <a:t>—</a:t>
            </a:r>
            <a:r>
              <a:rPr lang="en-US" altLang="ja-JP" sz="1800" dirty="0"/>
              <a:t> Dynamic Environment to </a:t>
            </a:r>
            <a:r>
              <a:rPr lang="el-GR" altLang="ja-JP" sz="1800" i="1" dirty="0"/>
              <a:t>μ</a:t>
            </a:r>
            <a:r>
              <a:rPr lang="en-US" altLang="ja-JP" sz="1800" dirty="0"/>
              <a:t> </a:t>
            </a:r>
            <a:r>
              <a:rPr lang="en-US" altLang="zh-TW" sz="1800" dirty="0">
                <a:cs typeface="Calibri" panose="020F0502020204030204" pitchFamily="34" charset="0"/>
              </a:rPr>
              <a:t>—</a:t>
            </a:r>
            <a:endParaRPr kumimoji="1" lang="ja-JP" altLang="en-US" sz="1800" dirty="0"/>
          </a:p>
        </p:txBody>
      </p:sp>
      <mc:AlternateContent xmlns:mc="http://schemas.openxmlformats.org/markup-compatibility/2006" xmlns:a14="http://schemas.microsoft.com/office/drawing/2010/main">
        <mc:Choice Requires="a14">
          <p:sp>
            <p:nvSpPr>
              <p:cNvPr id="38" name="コンテンツ プレースホルダー 4">
                <a:extLst>
                  <a:ext uri="{FF2B5EF4-FFF2-40B4-BE49-F238E27FC236}">
                    <a16:creationId xmlns:a16="http://schemas.microsoft.com/office/drawing/2014/main" id="{EFECDC32-B3AB-987A-B289-6CC2C152212F}"/>
                  </a:ext>
                </a:extLst>
              </p:cNvPr>
              <p:cNvSpPr txBox="1">
                <a:spLocks/>
              </p:cNvSpPr>
              <p:nvPr/>
            </p:nvSpPr>
            <p:spPr bwMode="auto">
              <a:xfrm>
                <a:off x="208784" y="1156320"/>
                <a:ext cx="8730587" cy="1618926"/>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65845" indent="-265845" algn="l" rtl="0" eaLnBrk="1" fontAlgn="base" hangingPunct="1">
                  <a:spcBef>
                    <a:spcPts val="277"/>
                  </a:spcBef>
                  <a:spcAft>
                    <a:spcPct val="0"/>
                  </a:spcAft>
                  <a:buClrTx/>
                  <a:buFont typeface="Wingdings" panose="05000000000000000000" pitchFamily="2" charset="2"/>
                  <a:buChar char="n"/>
                  <a:defRPr kumimoji="1" sz="1600" kern="1200">
                    <a:solidFill>
                      <a:schemeClr val="tx1"/>
                    </a:solidFill>
                    <a:latin typeface="+mn-lt"/>
                    <a:ea typeface="+mn-ea"/>
                    <a:cs typeface="+mn-cs"/>
                  </a:defRPr>
                </a:lvl1pPr>
                <a:lvl2pPr marL="531689" indent="-265845" algn="l" rtl="0" eaLnBrk="1" fontAlgn="base" hangingPunct="1">
                  <a:spcBef>
                    <a:spcPts val="277"/>
                  </a:spcBef>
                  <a:spcAft>
                    <a:spcPct val="0"/>
                  </a:spcAft>
                  <a:buClrTx/>
                  <a:buFont typeface="Wingdings" panose="05000000000000000000" pitchFamily="2" charset="2"/>
                  <a:buChar char="l"/>
                  <a:defRPr kumimoji="1" sz="1600" kern="1200">
                    <a:solidFill>
                      <a:schemeClr val="tx1"/>
                    </a:solidFill>
                    <a:latin typeface="+mn-lt"/>
                    <a:ea typeface="+mn-ea"/>
                    <a:cs typeface="+mn-cs"/>
                  </a:defRPr>
                </a:lvl2pPr>
                <a:lvl3pPr marL="797535" indent="-265845" algn="l" rtl="0" eaLnBrk="1" fontAlgn="base" hangingPunct="1">
                  <a:spcBef>
                    <a:spcPts val="277"/>
                  </a:spcBef>
                  <a:spcAft>
                    <a:spcPct val="0"/>
                  </a:spcAft>
                  <a:buClrTx/>
                  <a:buFont typeface="Calibri" panose="020F0502020204030204" pitchFamily="34" charset="0"/>
                  <a:buChar char="−"/>
                  <a:defRPr kumimoji="1" sz="1600" kern="1200">
                    <a:solidFill>
                      <a:schemeClr val="tx1"/>
                    </a:solidFill>
                    <a:latin typeface="+mn-lt"/>
                    <a:ea typeface="+mn-ea"/>
                    <a:cs typeface="+mn-cs"/>
                  </a:defRPr>
                </a:lvl3pPr>
                <a:lvl4pPr marL="1063379" indent="-265845" algn="l" rtl="0" eaLnBrk="1" fontAlgn="base" hangingPunct="1">
                  <a:spcBef>
                    <a:spcPts val="277"/>
                  </a:spcBef>
                  <a:spcAft>
                    <a:spcPct val="0"/>
                  </a:spcAft>
                  <a:buClrTx/>
                  <a:buFont typeface="Wingdings" panose="05000000000000000000" pitchFamily="2" charset="2"/>
                  <a:buChar char="p"/>
                  <a:defRPr kumimoji="1" sz="1600" kern="1200">
                    <a:solidFill>
                      <a:schemeClr val="tx1"/>
                    </a:solidFill>
                    <a:latin typeface="+mn-lt"/>
                    <a:ea typeface="+mn-ea"/>
                    <a:cs typeface="+mn-cs"/>
                  </a:defRPr>
                </a:lvl4pPr>
                <a:lvl5pPr marL="1329224" indent="-265845" algn="l" rtl="0" eaLnBrk="1" fontAlgn="base" hangingPunct="1">
                  <a:spcBef>
                    <a:spcPts val="277"/>
                  </a:spcBef>
                  <a:spcAft>
                    <a:spcPct val="0"/>
                  </a:spcAft>
                  <a:buClrTx/>
                  <a:buFont typeface="Wingdings" panose="05000000000000000000" pitchFamily="2" charset="2"/>
                  <a:buChar char="Ø"/>
                  <a:defRPr kumimoji="1" sz="1600" kern="1200">
                    <a:solidFill>
                      <a:schemeClr val="tx1"/>
                    </a:solidFill>
                    <a:latin typeface="+mn-lt"/>
                    <a:ea typeface="+mn-ea"/>
                    <a:cs typeface="+mn-cs"/>
                  </a:defRPr>
                </a:lvl5pPr>
                <a:lvl6pPr marL="2321157"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6pPr>
                <a:lvl7pPr marL="2743185"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7pPr>
                <a:lvl8pPr marL="3165212"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8pPr>
                <a:lvl9pPr marL="3587241" indent="-211015" algn="l" defTabSz="844058" rtl="0" eaLnBrk="1" latinLnBrk="0" hangingPunct="1">
                  <a:spcBef>
                    <a:spcPct val="20000"/>
                  </a:spcBef>
                  <a:buFont typeface="Arial" pitchFamily="34" charset="0"/>
                  <a:buChar char="•"/>
                  <a:defRPr kumimoji="1" sz="1847" kern="1200">
                    <a:solidFill>
                      <a:schemeClr val="tx1"/>
                    </a:solidFill>
                    <a:latin typeface="+mn-lt"/>
                    <a:ea typeface="+mn-ea"/>
                    <a:cs typeface="+mn-cs"/>
                  </a:defRPr>
                </a:lvl9pPr>
              </a:lstStyle>
              <a:p>
                <a:r>
                  <a:rPr lang="ja-JP" altLang="ja-JP" b="1"/>
                  <a:t>Linking Working-Environment Dynamics to the Repair Completion Rate </a:t>
                </a:r>
                <a14:m>
                  <m:oMath xmlns:m="http://schemas.openxmlformats.org/officeDocument/2006/math">
                    <m:d>
                      <m:dPr>
                        <m:ctrlPr>
                          <a:rPr lang="ja-JP" altLang="en-US" b="1" i="1">
                            <a:latin typeface="Cambria Math" panose="02040503050406030204" pitchFamily="18" charset="0"/>
                          </a:rPr>
                        </m:ctrlPr>
                      </m:dPr>
                      <m:e>
                        <m:r>
                          <a:rPr lang="ja-JP" altLang="en-US" b="1" i="1">
                            <a:latin typeface="Cambria Math" panose="02040503050406030204" pitchFamily="18" charset="0"/>
                          </a:rPr>
                          <m:t>𝝁</m:t>
                        </m:r>
                      </m:e>
                    </m:d>
                    <m:r>
                      <a:rPr lang="ja-JP" altLang="en-US" b="1" i="1">
                        <a:latin typeface="Cambria Math" panose="02040503050406030204" pitchFamily="18" charset="0"/>
                      </a:rPr>
                      <m:t> </m:t>
                    </m:r>
                  </m:oMath>
                </a14:m>
                <a:endParaRPr lang="en-US" altLang="ja-JP" b="1" dirty="0"/>
              </a:p>
              <a:p>
                <a:pPr lvl="1"/>
                <a:r>
                  <a:rPr lang="ja-JP" altLang="ja-JP" sz="1200"/>
                  <a:t>Degraded visibility not only increases the </a:t>
                </a:r>
                <a:r>
                  <a:rPr lang="ja-JP" altLang="ja-JP" sz="1200" u="sng"/>
                  <a:t>likelihood of human error</a:t>
                </a:r>
                <a:r>
                  <a:rPr lang="ja-JP" altLang="ja-JP" sz="1200"/>
                  <a:t> but also </a:t>
                </a:r>
                <a:r>
                  <a:rPr lang="ja-JP" altLang="ja-JP" sz="1200" u="sng"/>
                  <a:t>slows task execution</a:t>
                </a:r>
                <a:r>
                  <a:rPr lang="ja-JP" altLang="ja-JP" sz="1200"/>
                  <a:t>, thereby prolonging the repair duration. </a:t>
                </a:r>
                <a:endParaRPr lang="en-US" altLang="ja-JP" sz="1200" dirty="0"/>
              </a:p>
              <a:p>
                <a:pPr lvl="1"/>
                <a:r>
                  <a:rPr lang="ja-JP" altLang="ja-JP" sz="1200"/>
                  <a:t>Unlike the exponential distribution, which assumes a constant repair completion rate </a:t>
                </a:r>
                <a14:m>
                  <m:oMath xmlns:m="http://schemas.openxmlformats.org/officeDocument/2006/math">
                    <m:r>
                      <a:rPr lang="ja-JP" altLang="en-US" i="1">
                        <a:latin typeface="Cambria Math" panose="02040503050406030204" pitchFamily="18" charset="0"/>
                      </a:rPr>
                      <m:t>𝜇</m:t>
                    </m:r>
                  </m:oMath>
                </a14:m>
                <a:r>
                  <a:rPr lang="en-US" altLang="ja-JP" sz="1200" dirty="0"/>
                  <a:t> </a:t>
                </a:r>
                <a:r>
                  <a:rPr lang="ja-JP" altLang="ja-JP" sz="1200"/>
                  <a:t>throughout the task, the </a:t>
                </a:r>
                <a:r>
                  <a:rPr lang="ja-JP" altLang="ja-JP" sz="1200" u="sng"/>
                  <a:t>Erlang distribution</a:t>
                </a:r>
                <a:r>
                  <a:rPr lang="ja-JP" altLang="ja-JP" sz="1200"/>
                  <a:t> captures the time-dependent nature of task progression.</a:t>
                </a:r>
                <a:endParaRPr lang="en-US" altLang="ja-JP" sz="1200" dirty="0"/>
              </a:p>
              <a:p>
                <a:pPr lvl="1"/>
                <a:r>
                  <a:rPr lang="ja-JP" altLang="ja-JP" sz="1200"/>
                  <a:t>Under the Erlang formulation, </a:t>
                </a:r>
                <a14:m>
                  <m:oMath xmlns:m="http://schemas.openxmlformats.org/officeDocument/2006/math">
                    <m:r>
                      <a:rPr lang="ja-JP" altLang="en-US" i="1">
                        <a:latin typeface="Cambria Math" panose="02040503050406030204" pitchFamily="18" charset="0"/>
                      </a:rPr>
                      <m:t>𝜇</m:t>
                    </m:r>
                    <m:r>
                      <a:rPr lang="en-US" altLang="ja-JP" b="0" i="1" smtClean="0">
                        <a:latin typeface="Cambria Math" panose="02040503050406030204" pitchFamily="18" charset="0"/>
                      </a:rPr>
                      <m:t> </m:t>
                    </m:r>
                  </m:oMath>
                </a14:m>
                <a:r>
                  <a:rPr lang="ja-JP" altLang="ja-JP" sz="1200"/>
                  <a:t>increases </a:t>
                </a:r>
                <a:r>
                  <a:rPr lang="ja-JP" altLang="ja-JP" sz="1200" u="sng"/>
                  <a:t>as the task progresses</a:t>
                </a:r>
                <a:r>
                  <a:rPr lang="ja-JP" altLang="ja-JP" sz="1200"/>
                  <a:t>. However, </a:t>
                </a:r>
                <a:r>
                  <a:rPr lang="ja-JP" altLang="ja-JP" sz="1200" u="sng"/>
                  <a:t>deteriorating visibility </a:t>
                </a:r>
                <a:r>
                  <a:rPr lang="ja-JP" altLang="ja-JP" sz="1200"/>
                  <a:t>suppresses </a:t>
                </a:r>
                <a14:m>
                  <m:oMath xmlns:m="http://schemas.openxmlformats.org/officeDocument/2006/math">
                    <m:r>
                      <a:rPr lang="ja-JP" altLang="en-US" i="1">
                        <a:latin typeface="Cambria Math" panose="02040503050406030204" pitchFamily="18" charset="0"/>
                      </a:rPr>
                      <m:t>𝜇</m:t>
                    </m:r>
                  </m:oMath>
                </a14:m>
                <a:r>
                  <a:rPr lang="ja-JP" altLang="ja-JP" sz="1200"/>
                  <a:t>, thereby delaying task completion.</a:t>
                </a:r>
                <a:endParaRPr lang="en-US" altLang="ja-JP" sz="1200" u="sng" dirty="0"/>
              </a:p>
            </p:txBody>
          </p:sp>
        </mc:Choice>
        <mc:Fallback xmlns="">
          <p:sp>
            <p:nvSpPr>
              <p:cNvPr id="38" name="コンテンツ プレースホルダー 4">
                <a:extLst>
                  <a:ext uri="{FF2B5EF4-FFF2-40B4-BE49-F238E27FC236}">
                    <a16:creationId xmlns:a16="http://schemas.microsoft.com/office/drawing/2014/main" id="{EFECDC32-B3AB-987A-B289-6CC2C152212F}"/>
                  </a:ext>
                </a:extLst>
              </p:cNvPr>
              <p:cNvSpPr txBox="1">
                <a:spLocks noRot="1" noChangeAspect="1" noMove="1" noResize="1" noEditPoints="1" noAdjustHandles="1" noChangeArrowheads="1" noChangeShapeType="1" noTextEdit="1"/>
              </p:cNvSpPr>
              <p:nvPr/>
            </p:nvSpPr>
            <p:spPr bwMode="auto">
              <a:xfrm>
                <a:off x="208784" y="1156320"/>
                <a:ext cx="8730587" cy="1618926"/>
              </a:xfrm>
              <a:prstGeom prst="rect">
                <a:avLst/>
              </a:prstGeom>
              <a:blipFill>
                <a:blip r:embed="rId4"/>
                <a:stretch>
                  <a:fillRect l="-291" t="-1563" b="-6250"/>
                </a:stretch>
              </a:blipFill>
              <a:ln w="9525">
                <a:noFill/>
                <a:miter lim="800000"/>
                <a:headEnd/>
                <a:tailEnd/>
              </a:ln>
            </p:spPr>
            <p:txBody>
              <a:bodyPr/>
              <a:lstStyle/>
              <a:p>
                <a:r>
                  <a:rPr lang="ja-JP" altLang="en-US">
                    <a:noFill/>
                  </a:rPr>
                  <a:t> </a:t>
                </a:r>
              </a:p>
            </p:txBody>
          </p:sp>
        </mc:Fallback>
      </mc:AlternateContent>
      <p:cxnSp>
        <p:nvCxnSpPr>
          <p:cNvPr id="4" name="直線コネクタ 3">
            <a:extLst>
              <a:ext uri="{FF2B5EF4-FFF2-40B4-BE49-F238E27FC236}">
                <a16:creationId xmlns:a16="http://schemas.microsoft.com/office/drawing/2014/main" id="{46FA5CBD-EB4E-EC4B-E24F-0107C688C51C}"/>
              </a:ext>
            </a:extLst>
          </p:cNvPr>
          <p:cNvCxnSpPr>
            <a:cxnSpLocks/>
          </p:cNvCxnSpPr>
          <p:nvPr/>
        </p:nvCxnSpPr>
        <p:spPr>
          <a:xfrm>
            <a:off x="365144" y="3126055"/>
            <a:ext cx="218617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 name="テキスト ボックス 4">
                <a:extLst>
                  <a:ext uri="{FF2B5EF4-FFF2-40B4-BE49-F238E27FC236}">
                    <a16:creationId xmlns:a16="http://schemas.microsoft.com/office/drawing/2014/main" id="{3D50C9AC-3101-C114-7B21-39A991D84CFF}"/>
                  </a:ext>
                </a:extLst>
              </p:cNvPr>
              <p:cNvSpPr txBox="1"/>
              <p:nvPr/>
            </p:nvSpPr>
            <p:spPr>
              <a:xfrm>
                <a:off x="103374" y="3821125"/>
                <a:ext cx="2447949" cy="40164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i="1">
                              <a:latin typeface="Cambria Math" panose="02040503050406030204" pitchFamily="18" charset="0"/>
                            </a:rPr>
                          </m:ctrlPr>
                        </m:sSubSupPr>
                        <m:e>
                          <m:r>
                            <a:rPr lang="ja-JP" altLang="en-US" i="1">
                              <a:latin typeface="Cambria Math" panose="02040503050406030204" pitchFamily="18" charset="0"/>
                            </a:rPr>
                            <m:t>𝑉</m:t>
                          </m:r>
                        </m:e>
                        <m:sub>
                          <m:r>
                            <a:rPr lang="ja-JP" altLang="en-US" i="1">
                              <a:latin typeface="Cambria Math" panose="02040503050406030204" pitchFamily="18" charset="0"/>
                            </a:rPr>
                            <m:t>𝑗</m:t>
                          </m:r>
                        </m:sub>
                        <m:sup>
                          <m:r>
                            <a:rPr lang="ja-JP" altLang="en-US" i="1">
                              <a:latin typeface="Cambria Math" panose="02040503050406030204" pitchFamily="18" charset="0"/>
                            </a:rPr>
                            <m:t>𝑛</m:t>
                          </m:r>
                        </m:sup>
                      </m:sSubSup>
                      <m:r>
                        <a:rPr lang="ja-JP" altLang="en-US" i="0">
                          <a:latin typeface="Cambria Math" panose="02040503050406030204" pitchFamily="18" charset="0"/>
                        </a:rPr>
                        <m:t>=3.</m:t>
                      </m:r>
                      <m:f>
                        <m:fPr>
                          <m:type m:val="lin"/>
                          <m:ctrlPr>
                            <a:rPr lang="ja-JP" altLang="en-US" i="1">
                              <a:latin typeface="Cambria Math" panose="02040503050406030204" pitchFamily="18" charset="0"/>
                            </a:rPr>
                          </m:ctrlPr>
                        </m:fPr>
                        <m:num>
                          <m:r>
                            <a:rPr lang="ja-JP" altLang="en-US" i="0">
                              <a:latin typeface="Cambria Math" panose="02040503050406030204" pitchFamily="18" charset="0"/>
                            </a:rPr>
                            <m:t>912</m:t>
                          </m:r>
                        </m:num>
                        <m:den>
                          <m:sSubSup>
                            <m:sSubSupPr>
                              <m:ctrlPr>
                                <a:rPr lang="ja-JP" altLang="en-US" i="1">
                                  <a:latin typeface="Cambria Math" panose="02040503050406030204" pitchFamily="18" charset="0"/>
                                </a:rPr>
                              </m:ctrlPr>
                            </m:sSubSupPr>
                            <m:e>
                              <m:r>
                                <a:rPr lang="ja-JP" altLang="en-US" i="1">
                                  <a:latin typeface="Cambria Math" panose="02040503050406030204" pitchFamily="18" charset="0"/>
                                </a:rPr>
                                <m:t>𝛽</m:t>
                              </m:r>
                            </m:e>
                            <m:sub>
                              <m:r>
                                <a:rPr lang="ja-JP" altLang="en-US" i="1">
                                  <a:latin typeface="Cambria Math" panose="02040503050406030204" pitchFamily="18" charset="0"/>
                                </a:rPr>
                                <m:t>𝑒𝑥𝑡</m:t>
                              </m:r>
                              <m:r>
                                <a:rPr lang="ja-JP" altLang="en-US" i="0">
                                  <a:latin typeface="Cambria Math" panose="02040503050406030204" pitchFamily="18" charset="0"/>
                                </a:rPr>
                                <m:t>,</m:t>
                              </m:r>
                              <m:r>
                                <a:rPr lang="ja-JP" altLang="en-US" i="1">
                                  <a:latin typeface="Cambria Math" panose="02040503050406030204" pitchFamily="18" charset="0"/>
                                </a:rPr>
                                <m:t>𝑗</m:t>
                              </m:r>
                            </m:sub>
                            <m:sup>
                              <m:r>
                                <a:rPr lang="ja-JP" altLang="en-US" i="1">
                                  <a:latin typeface="Cambria Math" panose="02040503050406030204" pitchFamily="18" charset="0"/>
                                </a:rPr>
                                <m:t>𝑛</m:t>
                              </m:r>
                            </m:sup>
                          </m:sSubSup>
                        </m:den>
                      </m:f>
                      <m:r>
                        <a:rPr lang="ja-JP" altLang="en-US" i="0">
                          <a:latin typeface="Cambria Math" panose="02040503050406030204" pitchFamily="18" charset="0"/>
                        </a:rPr>
                        <m:t> </m:t>
                      </m:r>
                    </m:oMath>
                  </m:oMathPara>
                </a14:m>
                <a:endParaRPr lang="ja-JP" altLang="en-US"/>
              </a:p>
            </p:txBody>
          </p:sp>
        </mc:Choice>
        <mc:Fallback xmlns="">
          <p:sp>
            <p:nvSpPr>
              <p:cNvPr id="5" name="テキスト ボックス 4">
                <a:extLst>
                  <a:ext uri="{FF2B5EF4-FFF2-40B4-BE49-F238E27FC236}">
                    <a16:creationId xmlns:a16="http://schemas.microsoft.com/office/drawing/2014/main" id="{3D50C9AC-3101-C114-7B21-39A991D84CFF}"/>
                  </a:ext>
                </a:extLst>
              </p:cNvPr>
              <p:cNvSpPr txBox="1">
                <a:spLocks noRot="1" noChangeAspect="1" noMove="1" noResize="1" noEditPoints="1" noAdjustHandles="1" noChangeArrowheads="1" noChangeShapeType="1" noTextEdit="1"/>
              </p:cNvSpPr>
              <p:nvPr/>
            </p:nvSpPr>
            <p:spPr>
              <a:xfrm>
                <a:off x="103374" y="3821125"/>
                <a:ext cx="2447949" cy="401648"/>
              </a:xfrm>
              <a:prstGeom prst="rect">
                <a:avLst/>
              </a:prstGeom>
              <a:blipFill>
                <a:blip r:embed="rId5"/>
                <a:stretch>
                  <a:fillRect t="-100000" b="-145455"/>
                </a:stretch>
              </a:blipFill>
            </p:spPr>
            <p:txBody>
              <a:bodyPr/>
              <a:lstStyle/>
              <a:p>
                <a:r>
                  <a:rPr lang="ja-JP" altLang="en-US">
                    <a:noFill/>
                  </a:rPr>
                  <a:t> </a:t>
                </a:r>
              </a:p>
            </p:txBody>
          </p:sp>
        </mc:Fallback>
      </mc:AlternateContent>
      <p:sp>
        <p:nvSpPr>
          <p:cNvPr id="6" name="テキスト ボックス 5">
            <a:extLst>
              <a:ext uri="{FF2B5EF4-FFF2-40B4-BE49-F238E27FC236}">
                <a16:creationId xmlns:a16="http://schemas.microsoft.com/office/drawing/2014/main" id="{537E7B0B-6C36-8BEC-954F-4B68FD23C274}"/>
              </a:ext>
            </a:extLst>
          </p:cNvPr>
          <p:cNvSpPr txBox="1"/>
          <p:nvPr/>
        </p:nvSpPr>
        <p:spPr>
          <a:xfrm>
            <a:off x="72372" y="3157521"/>
            <a:ext cx="2149049" cy="492443"/>
          </a:xfrm>
          <a:prstGeom prst="rect">
            <a:avLst/>
          </a:prstGeom>
          <a:noFill/>
        </p:spPr>
        <p:txBody>
          <a:bodyPr wrap="square">
            <a:spAutoFit/>
          </a:bodyPr>
          <a:lstStyle/>
          <a:p>
            <a:pPr marL="265844" lvl="1">
              <a:spcBef>
                <a:spcPts val="277"/>
              </a:spcBef>
            </a:pPr>
            <a:r>
              <a:rPr lang="en-US" altLang="zh-TW" sz="1300" b="1" i="1" dirty="0">
                <a:solidFill>
                  <a:schemeClr val="tx2"/>
                </a:solidFill>
                <a:highlight>
                  <a:srgbClr val="FFFF00"/>
                </a:highlight>
                <a:latin typeface="+mn-lt"/>
                <a:ea typeface="+mn-ea"/>
              </a:rPr>
              <a:t>Visibility </a:t>
            </a:r>
            <a:r>
              <a:rPr lang="en-US" altLang="ja-JP" sz="1300" b="1" i="1" dirty="0">
                <a:solidFill>
                  <a:schemeClr val="tx2"/>
                </a:solidFill>
                <a:highlight>
                  <a:srgbClr val="FFFF00"/>
                </a:highlight>
              </a:rPr>
              <a:t>[m]</a:t>
            </a:r>
            <a:br>
              <a:rPr lang="en-US" altLang="ja-JP" sz="1300" i="1" dirty="0">
                <a:solidFill>
                  <a:schemeClr val="tx2"/>
                </a:solidFill>
              </a:rPr>
            </a:br>
            <a:r>
              <a:rPr lang="en-US" altLang="zh-TW" sz="1300" i="1" dirty="0">
                <a:solidFill>
                  <a:schemeClr val="tx2"/>
                </a:solidFill>
                <a:latin typeface="+mn-lt"/>
                <a:ea typeface="+mn-ea"/>
              </a:rPr>
              <a:t>(updating)</a:t>
            </a:r>
            <a:r>
              <a:rPr lang="en-US" altLang="ja-JP" sz="1300" i="1" dirty="0">
                <a:solidFill>
                  <a:schemeClr val="tx2"/>
                </a:solidFill>
                <a:latin typeface="+mn-lt"/>
                <a:ea typeface="+mn-ea"/>
              </a:rPr>
              <a:t> </a:t>
            </a:r>
          </a:p>
        </p:txBody>
      </p:sp>
      <p:cxnSp>
        <p:nvCxnSpPr>
          <p:cNvPr id="7" name="カギ線コネクタ 6">
            <a:extLst>
              <a:ext uri="{FF2B5EF4-FFF2-40B4-BE49-F238E27FC236}">
                <a16:creationId xmlns:a16="http://schemas.microsoft.com/office/drawing/2014/main" id="{F51C4CBC-AA56-78DC-DED8-11358E0F5FB3}"/>
              </a:ext>
            </a:extLst>
          </p:cNvPr>
          <p:cNvCxnSpPr>
            <a:cxnSpLocks/>
          </p:cNvCxnSpPr>
          <p:nvPr/>
        </p:nvCxnSpPr>
        <p:spPr>
          <a:xfrm rot="5400000">
            <a:off x="378936" y="3768316"/>
            <a:ext cx="252315" cy="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545A1F66-88F8-9188-5328-8485337BB78E}"/>
              </a:ext>
            </a:extLst>
          </p:cNvPr>
          <p:cNvSpPr txBox="1"/>
          <p:nvPr/>
        </p:nvSpPr>
        <p:spPr>
          <a:xfrm>
            <a:off x="60375" y="4541103"/>
            <a:ext cx="2613332" cy="730969"/>
          </a:xfrm>
          <a:prstGeom prst="rect">
            <a:avLst/>
          </a:prstGeom>
          <a:noFill/>
        </p:spPr>
        <p:txBody>
          <a:bodyPr wrap="square">
            <a:spAutoFit/>
          </a:bodyPr>
          <a:lstStyle/>
          <a:p>
            <a:pPr marL="265844" lvl="1">
              <a:spcBef>
                <a:spcPts val="277"/>
              </a:spcBef>
            </a:pPr>
            <a:r>
              <a:rPr lang="en-US" altLang="zh-TW" sz="1300" b="1" i="1" dirty="0">
                <a:solidFill>
                  <a:schemeClr val="tx2"/>
                </a:solidFill>
                <a:latin typeface="+mn-lt"/>
                <a:ea typeface="+mn-ea"/>
              </a:rPr>
              <a:t>Extinction coefficient </a:t>
            </a:r>
            <a:r>
              <a:rPr lang="en-US" altLang="ja-JP" sz="1300" b="1" i="1" dirty="0">
                <a:solidFill>
                  <a:schemeClr val="tx2"/>
                </a:solidFill>
              </a:rPr>
              <a:t>[1/m]</a:t>
            </a:r>
            <a:endParaRPr lang="en-US" altLang="zh-TW" sz="1300" b="1" i="1" dirty="0">
              <a:solidFill>
                <a:schemeClr val="tx2"/>
              </a:solidFill>
              <a:latin typeface="+mn-lt"/>
              <a:ea typeface="+mn-ea"/>
            </a:endParaRPr>
          </a:p>
          <a:p>
            <a:pPr marL="265844" lvl="1">
              <a:spcBef>
                <a:spcPts val="277"/>
              </a:spcBef>
            </a:pPr>
            <a:r>
              <a:rPr lang="en-US" altLang="ja-JP" sz="1300" i="1" dirty="0">
                <a:solidFill>
                  <a:schemeClr val="tx2"/>
                </a:solidFill>
                <a:latin typeface="+mn-lt"/>
                <a:ea typeface="+mn-ea"/>
              </a:rPr>
              <a:t>(related to the </a:t>
            </a:r>
            <a:r>
              <a:rPr lang="en-US" altLang="ja-JP" sz="1300" b="1" i="1" u="sng" dirty="0">
                <a:solidFill>
                  <a:srgbClr val="C00000"/>
                </a:solidFill>
                <a:latin typeface="+mn-lt"/>
                <a:ea typeface="+mn-ea"/>
              </a:rPr>
              <a:t>ash concentration</a:t>
            </a:r>
            <a:r>
              <a:rPr lang="en-US" altLang="ja-JP" sz="1300" i="1" dirty="0">
                <a:solidFill>
                  <a:schemeClr val="tx2"/>
                </a:solidFill>
                <a:latin typeface="+mn-lt"/>
                <a:ea typeface="+mn-ea"/>
              </a:rPr>
              <a:t>) </a:t>
            </a:r>
          </a:p>
        </p:txBody>
      </p:sp>
      <p:cxnSp>
        <p:nvCxnSpPr>
          <p:cNvPr id="9" name="カギ線コネクタ 8">
            <a:extLst>
              <a:ext uri="{FF2B5EF4-FFF2-40B4-BE49-F238E27FC236}">
                <a16:creationId xmlns:a16="http://schemas.microsoft.com/office/drawing/2014/main" id="{DB2E28B6-9E05-F07A-60BA-A3C2C3583E87}"/>
              </a:ext>
            </a:extLst>
          </p:cNvPr>
          <p:cNvCxnSpPr>
            <a:cxnSpLocks/>
          </p:cNvCxnSpPr>
          <p:nvPr/>
        </p:nvCxnSpPr>
        <p:spPr>
          <a:xfrm rot="5400000" flipH="1" flipV="1">
            <a:off x="1194721" y="4136998"/>
            <a:ext cx="642368" cy="548243"/>
          </a:xfrm>
          <a:prstGeom prst="bentConnector3">
            <a:avLst>
              <a:gd name="adj1" fmla="val 3576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 name="矢印: 右 25">
            <a:extLst>
              <a:ext uri="{FF2B5EF4-FFF2-40B4-BE49-F238E27FC236}">
                <a16:creationId xmlns:a16="http://schemas.microsoft.com/office/drawing/2014/main" id="{D5D65E37-3E6B-AF1D-EB0E-EFFCEF57CA98}"/>
              </a:ext>
            </a:extLst>
          </p:cNvPr>
          <p:cNvSpPr/>
          <p:nvPr/>
        </p:nvSpPr>
        <p:spPr>
          <a:xfrm>
            <a:off x="2576099" y="3712777"/>
            <a:ext cx="330011" cy="32316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ja-JP" altLang="en-US" sz="1500" b="1" dirty="0"/>
          </a:p>
        </p:txBody>
      </p:sp>
      <p:pic>
        <p:nvPicPr>
          <p:cNvPr id="13" name="Picture 2">
            <a:extLst>
              <a:ext uri="{FF2B5EF4-FFF2-40B4-BE49-F238E27FC236}">
                <a16:creationId xmlns:a16="http://schemas.microsoft.com/office/drawing/2014/main" id="{4BF72251-4236-8AB1-0118-4870069F1AA6}"/>
              </a:ext>
            </a:extLst>
          </p:cNvPr>
          <p:cNvPicPr>
            <a:picLocks noChangeAspect="1"/>
          </p:cNvPicPr>
          <p:nvPr/>
        </p:nvPicPr>
        <p:blipFill>
          <a:blip r:embed="rId6"/>
          <a:srcRect l="4374" t="24008" r="57345" b="25491"/>
          <a:stretch>
            <a:fillRect/>
          </a:stretch>
        </p:blipFill>
        <p:spPr>
          <a:xfrm>
            <a:off x="896137" y="5279812"/>
            <a:ext cx="1530068" cy="1125949"/>
          </a:xfrm>
          <a:prstGeom prst="rect">
            <a:avLst/>
          </a:prstGeom>
        </p:spPr>
      </p:pic>
      <p:pic>
        <p:nvPicPr>
          <p:cNvPr id="17" name="グラフィックス 16" descr="男性 単色塗りつぶし">
            <a:extLst>
              <a:ext uri="{FF2B5EF4-FFF2-40B4-BE49-F238E27FC236}">
                <a16:creationId xmlns:a16="http://schemas.microsoft.com/office/drawing/2014/main" id="{C7BA0029-4649-FFC6-DFC9-679285FD68C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635501" y="5735221"/>
            <a:ext cx="474760" cy="478752"/>
          </a:xfrm>
          <a:prstGeom prst="rect">
            <a:avLst/>
          </a:prstGeom>
        </p:spPr>
      </p:pic>
      <p:sp>
        <p:nvSpPr>
          <p:cNvPr id="18" name="角丸四角形吹き出し 17">
            <a:extLst>
              <a:ext uri="{FF2B5EF4-FFF2-40B4-BE49-F238E27FC236}">
                <a16:creationId xmlns:a16="http://schemas.microsoft.com/office/drawing/2014/main" id="{D523B09F-7A14-34D9-B787-0B09698A7A81}"/>
              </a:ext>
            </a:extLst>
          </p:cNvPr>
          <p:cNvSpPr/>
          <p:nvPr/>
        </p:nvSpPr>
        <p:spPr>
          <a:xfrm>
            <a:off x="262258" y="5252031"/>
            <a:ext cx="2411449" cy="1229993"/>
          </a:xfrm>
          <a:prstGeom prst="wedgeRoundRectCallout">
            <a:avLst>
              <a:gd name="adj1" fmla="val 3182"/>
              <a:gd name="adj2" fmla="val -69085"/>
              <a:gd name="adj3" fmla="val 16667"/>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プレースホルダー 5">
            <a:extLst>
              <a:ext uri="{FF2B5EF4-FFF2-40B4-BE49-F238E27FC236}">
                <a16:creationId xmlns:a16="http://schemas.microsoft.com/office/drawing/2014/main" id="{5EA3D8D3-A0FC-9EDA-A03F-86EA89B143B2}"/>
              </a:ext>
            </a:extLst>
          </p:cNvPr>
          <p:cNvSpPr txBox="1">
            <a:spLocks/>
          </p:cNvSpPr>
          <p:nvPr/>
        </p:nvSpPr>
        <p:spPr>
          <a:xfrm>
            <a:off x="0" y="2801077"/>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1. Link to </a:t>
            </a:r>
            <a:r>
              <a:rPr lang="en-US" altLang="zh-TW" b="1" dirty="0">
                <a:solidFill>
                  <a:schemeClr val="tx2"/>
                </a:solidFill>
              </a:rPr>
              <a:t>Visibility</a:t>
            </a:r>
            <a:endParaRPr lang="en-US" altLang="ja-JP" b="1" dirty="0">
              <a:solidFill>
                <a:schemeClr val="tx2"/>
              </a:solidFill>
            </a:endParaRPr>
          </a:p>
        </p:txBody>
      </p:sp>
      <p:cxnSp>
        <p:nvCxnSpPr>
          <p:cNvPr id="36" name="直線コネクタ 35">
            <a:extLst>
              <a:ext uri="{FF2B5EF4-FFF2-40B4-BE49-F238E27FC236}">
                <a16:creationId xmlns:a16="http://schemas.microsoft.com/office/drawing/2014/main" id="{3A8B7C8F-477A-849B-7F4C-81F67AD03861}"/>
              </a:ext>
            </a:extLst>
          </p:cNvPr>
          <p:cNvCxnSpPr>
            <a:cxnSpLocks/>
          </p:cNvCxnSpPr>
          <p:nvPr/>
        </p:nvCxnSpPr>
        <p:spPr>
          <a:xfrm>
            <a:off x="6821742" y="3126055"/>
            <a:ext cx="207073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6" name="テキスト プレースホルダー 5">
            <a:extLst>
              <a:ext uri="{FF2B5EF4-FFF2-40B4-BE49-F238E27FC236}">
                <a16:creationId xmlns:a16="http://schemas.microsoft.com/office/drawing/2014/main" id="{CB8AEFB5-CBE1-974B-8EA7-C4ADD5B365BF}"/>
              </a:ext>
            </a:extLst>
          </p:cNvPr>
          <p:cNvSpPr txBox="1">
            <a:spLocks/>
          </p:cNvSpPr>
          <p:nvPr/>
        </p:nvSpPr>
        <p:spPr>
          <a:xfrm>
            <a:off x="6516216" y="2789947"/>
            <a:ext cx="2054135"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3. </a:t>
            </a:r>
            <a:r>
              <a:rPr lang="en-US" altLang="zh-TW" b="1" dirty="0">
                <a:solidFill>
                  <a:schemeClr val="tx2"/>
                </a:solidFill>
              </a:rPr>
              <a:t>Link to </a:t>
            </a:r>
            <a:r>
              <a:rPr lang="el-GR" altLang="ja-JP" b="1" i="1" dirty="0">
                <a:solidFill>
                  <a:schemeClr val="tx2"/>
                </a:solidFill>
              </a:rPr>
              <a:t>μ</a:t>
            </a:r>
            <a:endParaRPr lang="en-US" altLang="ja-JP" b="1" dirty="0">
              <a:solidFill>
                <a:schemeClr val="tx2"/>
              </a:solidFill>
            </a:endParaRPr>
          </a:p>
        </p:txBody>
      </p:sp>
      <p:sp>
        <p:nvSpPr>
          <p:cNvPr id="49" name="テキスト ボックス 48">
            <a:extLst>
              <a:ext uri="{FF2B5EF4-FFF2-40B4-BE49-F238E27FC236}">
                <a16:creationId xmlns:a16="http://schemas.microsoft.com/office/drawing/2014/main" id="{1E59C944-2816-9FF0-84B5-E15032A51C9E}"/>
              </a:ext>
            </a:extLst>
          </p:cNvPr>
          <p:cNvSpPr txBox="1"/>
          <p:nvPr/>
        </p:nvSpPr>
        <p:spPr>
          <a:xfrm>
            <a:off x="213099" y="6224656"/>
            <a:ext cx="3177580" cy="276999"/>
          </a:xfrm>
          <a:prstGeom prst="rect">
            <a:avLst/>
          </a:prstGeom>
          <a:noFill/>
        </p:spPr>
        <p:txBody>
          <a:bodyPr wrap="square">
            <a:spAutoFit/>
          </a:bodyPr>
          <a:lstStyle/>
          <a:p>
            <a:r>
              <a:rPr lang="en-US" altLang="ja-JP" sz="1200" b="1" i="1" dirty="0">
                <a:solidFill>
                  <a:srgbClr val="C00000"/>
                </a:solidFill>
                <a:latin typeface="+mn-lt"/>
                <a:ea typeface="+mn-ea"/>
              </a:rPr>
              <a:t>Working Environment’s Dynamic</a:t>
            </a:r>
            <a:endParaRPr lang="ja-JP" altLang="en-US" sz="1200" b="1" i="1">
              <a:solidFill>
                <a:srgbClr val="C00000"/>
              </a:solidFill>
              <a:latin typeface="+mn-lt"/>
              <a:ea typeface="+mn-ea"/>
            </a:endParaRPr>
          </a:p>
        </p:txBody>
      </p:sp>
      <mc:AlternateContent xmlns:mc="http://schemas.openxmlformats.org/markup-compatibility/2006" xmlns:a14="http://schemas.microsoft.com/office/drawing/2010/main">
        <mc:Choice Requires="a14">
          <p:sp>
            <p:nvSpPr>
              <p:cNvPr id="52" name="テキスト ボックス 51">
                <a:extLst>
                  <a:ext uri="{FF2B5EF4-FFF2-40B4-BE49-F238E27FC236}">
                    <a16:creationId xmlns:a16="http://schemas.microsoft.com/office/drawing/2014/main" id="{AB7468DF-75D7-847B-BC29-4E5142183C56}"/>
                  </a:ext>
                </a:extLst>
              </p:cNvPr>
              <p:cNvSpPr txBox="1"/>
              <p:nvPr/>
            </p:nvSpPr>
            <p:spPr>
              <a:xfrm>
                <a:off x="2980095" y="3725122"/>
                <a:ext cx="3712871" cy="532518"/>
              </a:xfrm>
              <a:prstGeom prst="rect">
                <a:avLst/>
              </a:prstGeom>
              <a:noFill/>
            </p:spPr>
            <p:txBody>
              <a:bodyPr wrap="square" rtlCol="0">
                <a:spAutoFit/>
              </a:bodyPr>
              <a:lstStyle/>
              <a:p>
                <a14:m>
                  <m:oMath xmlns:m="http://schemas.openxmlformats.org/officeDocument/2006/math">
                    <m:sSubSup>
                      <m:sSubSupPr>
                        <m:ctrlPr>
                          <a:rPr lang="ja-JP" altLang="en-US" sz="1600" i="1">
                            <a:latin typeface="Cambria Math" panose="02040503050406030204" pitchFamily="18" charset="0"/>
                          </a:rPr>
                        </m:ctrlPr>
                      </m:sSubSupPr>
                      <m:e>
                        <m:r>
                          <a:rPr lang="ja-JP" altLang="en-US" sz="1600" i="1">
                            <a:latin typeface="Cambria Math" panose="02040503050406030204" pitchFamily="18" charset="0"/>
                          </a:rPr>
                          <m:t>𝑃</m:t>
                        </m:r>
                      </m:e>
                      <m:sub>
                        <m:r>
                          <a:rPr lang="ja-JP" altLang="en-US" sz="1600" i="1">
                            <a:latin typeface="Cambria Math" panose="02040503050406030204" pitchFamily="18" charset="0"/>
                          </a:rPr>
                          <m:t>𝜇</m:t>
                        </m:r>
                        <m:r>
                          <a:rPr lang="en-US" altLang="ja-JP" sz="1600">
                            <a:latin typeface="Cambria Math" panose="02040503050406030204" pitchFamily="18" charset="0"/>
                          </a:rPr>
                          <m:t>,</m:t>
                        </m:r>
                        <m:r>
                          <a:rPr lang="ja-JP" altLang="en-US" sz="1600" i="1">
                            <a:latin typeface="Cambria Math" panose="02040503050406030204" pitchFamily="18" charset="0"/>
                          </a:rPr>
                          <m:t>𝑖</m:t>
                        </m:r>
                      </m:sub>
                      <m:sup>
                        <m:r>
                          <a:rPr lang="en-US" altLang="ja-JP" sz="1600">
                            <a:latin typeface="Cambria Math" panose="02040503050406030204" pitchFamily="18" charset="0"/>
                          </a:rPr>
                          <m:t>(</m:t>
                        </m:r>
                        <m:r>
                          <a:rPr lang="ja-JP" altLang="en-US" sz="1600" i="1">
                            <a:latin typeface="Cambria Math" panose="02040503050406030204" pitchFamily="18" charset="0"/>
                          </a:rPr>
                          <m:t>𝑛</m:t>
                        </m:r>
                        <m:r>
                          <a:rPr lang="en-US" altLang="ja-JP" sz="1600">
                            <a:latin typeface="Cambria Math" panose="02040503050406030204" pitchFamily="18" charset="0"/>
                          </a:rPr>
                          <m:t>)</m:t>
                        </m:r>
                      </m:sup>
                    </m:sSubSup>
                    <m:r>
                      <a:rPr lang="ja-JP" altLang="en-US" sz="1600" i="1">
                        <a:latin typeface="Cambria Math" panose="02040503050406030204" pitchFamily="18" charset="0"/>
                      </a:rPr>
                      <m:t>＝</m:t>
                    </m:r>
                    <m:r>
                      <a:rPr lang="en-US" altLang="ja-JP" sz="1600" i="1">
                        <a:latin typeface="Cambria Math" panose="02040503050406030204" pitchFamily="18" charset="0"/>
                      </a:rPr>
                      <m:t>1−</m:t>
                    </m:r>
                    <m:sSup>
                      <m:sSupPr>
                        <m:ctrlPr>
                          <a:rPr lang="ja-JP" altLang="en-US" sz="1600" i="1">
                            <a:latin typeface="Cambria Math" panose="02040503050406030204" pitchFamily="18" charset="0"/>
                          </a:rPr>
                        </m:ctrlPr>
                      </m:sSupPr>
                      <m:e>
                        <m:r>
                          <a:rPr lang="ja-JP" altLang="en-US" sz="1600" i="1">
                            <a:latin typeface="Cambria Math" panose="02040503050406030204" pitchFamily="18" charset="0"/>
                          </a:rPr>
                          <m:t>𝑒</m:t>
                        </m:r>
                      </m:e>
                      <m:sup>
                        <m:r>
                          <a:rPr lang="ja-JP" altLang="en-US" sz="1600" i="1">
                            <a:latin typeface="Cambria Math" panose="02040503050406030204" pitchFamily="18" charset="0"/>
                          </a:rPr>
                          <m:t>−</m:t>
                        </m:r>
                        <m:sSubSup>
                          <m:sSubSupPr>
                            <m:ctrlPr>
                              <a:rPr lang="ja-JP" altLang="en-US" sz="1600" i="1">
                                <a:latin typeface="Cambria Math" panose="02040503050406030204" pitchFamily="18" charset="0"/>
                              </a:rPr>
                            </m:ctrlPr>
                          </m:sSubSupPr>
                          <m:e>
                            <m:r>
                              <a:rPr lang="ja-JP" altLang="en-US" sz="1600" i="1">
                                <a:latin typeface="Cambria Math" panose="02040503050406030204" pitchFamily="18" charset="0"/>
                              </a:rPr>
                              <m:t>𝛽</m:t>
                            </m:r>
                          </m:e>
                          <m:sub>
                            <m:r>
                              <a:rPr lang="ja-JP" altLang="en-US" sz="1600" i="1">
                                <a:latin typeface="Cambria Math" panose="02040503050406030204" pitchFamily="18" charset="0"/>
                              </a:rPr>
                              <m:t>𝑖</m:t>
                            </m:r>
                          </m:sub>
                          <m:sup>
                            <m:r>
                              <a:rPr lang="en-US" altLang="ja-JP" sz="1600" i="1">
                                <a:latin typeface="Cambria Math" panose="02040503050406030204" pitchFamily="18" charset="0"/>
                              </a:rPr>
                              <m:t>(</m:t>
                            </m:r>
                            <m:r>
                              <a:rPr lang="en-US" altLang="ja-JP" sz="1600" i="1">
                                <a:latin typeface="Cambria Math" panose="02040503050406030204" pitchFamily="18" charset="0"/>
                              </a:rPr>
                              <m:t>𝑛</m:t>
                            </m:r>
                            <m:r>
                              <a:rPr lang="en-US" altLang="ja-JP" sz="1600" i="1">
                                <a:latin typeface="Cambria Math" panose="02040503050406030204" pitchFamily="18" charset="0"/>
                              </a:rPr>
                              <m:t>)</m:t>
                            </m:r>
                          </m:sup>
                        </m:sSubSup>
                        <m:r>
                          <a:rPr lang="en-US" altLang="ja-JP" sz="1600" i="1">
                            <a:latin typeface="Cambria Math" panose="02040503050406030204" pitchFamily="18" charset="0"/>
                          </a:rPr>
                          <m:t>×(</m:t>
                        </m:r>
                        <m:sSub>
                          <m:sSubPr>
                            <m:ctrlPr>
                              <a:rPr lang="ja-JP" altLang="en-US" sz="1600" i="1">
                                <a:latin typeface="Cambria Math" panose="02040503050406030204" pitchFamily="18" charset="0"/>
                              </a:rPr>
                            </m:ctrlPr>
                          </m:sSubPr>
                          <m:e>
                            <m:r>
                              <a:rPr lang="ja-JP" altLang="en-US" sz="1600" i="1">
                                <a:latin typeface="Cambria Math" panose="02040503050406030204" pitchFamily="18" charset="0"/>
                              </a:rPr>
                              <m:t>𝑇</m:t>
                            </m:r>
                          </m:e>
                          <m:sub>
                            <m:r>
                              <a:rPr lang="ja-JP" altLang="en-US" sz="1600" i="1">
                                <a:latin typeface="Cambria Math" panose="02040503050406030204" pitchFamily="18" charset="0"/>
                              </a:rPr>
                              <m:t>𝑔</m:t>
                            </m:r>
                            <m:r>
                              <a:rPr lang="en-US" altLang="ja-JP" sz="1600">
                                <a:latin typeface="Cambria Math" panose="02040503050406030204" pitchFamily="18" charset="0"/>
                              </a:rPr>
                              <m:t>,</m:t>
                            </m:r>
                            <m:r>
                              <a:rPr lang="ja-JP" altLang="en-US" sz="1600" i="1">
                                <a:latin typeface="Cambria Math" panose="02040503050406030204" pitchFamily="18" charset="0"/>
                              </a:rPr>
                              <m:t>𝑖</m:t>
                            </m:r>
                          </m:sub>
                        </m:sSub>
                        <m:r>
                          <a:rPr lang="en-US" altLang="ja-JP" sz="1600" i="1">
                            <a:latin typeface="Cambria Math" panose="02040503050406030204" pitchFamily="18" charset="0"/>
                          </a:rPr>
                          <m:t>)</m:t>
                        </m:r>
                      </m:sup>
                    </m:sSup>
                    <m:nary>
                      <m:naryPr>
                        <m:chr m:val="∑"/>
                        <m:limLoc m:val="undOvr"/>
                        <m:ctrlPr>
                          <a:rPr lang="ja-JP" altLang="en-US" sz="1600" i="1">
                            <a:latin typeface="Cambria Math" panose="02040503050406030204" pitchFamily="18" charset="0"/>
                          </a:rPr>
                        </m:ctrlPr>
                      </m:naryPr>
                      <m:sub>
                        <m:r>
                          <a:rPr lang="ja-JP" altLang="en-US" sz="1600" i="1">
                            <a:latin typeface="Cambria Math" panose="02040503050406030204" pitchFamily="18" charset="0"/>
                          </a:rPr>
                          <m:t>𝑙</m:t>
                        </m:r>
                        <m:r>
                          <a:rPr lang="en-US" altLang="ja-JP" sz="1600" i="1">
                            <a:latin typeface="Cambria Math" panose="02040503050406030204" pitchFamily="18" charset="0"/>
                          </a:rPr>
                          <m:t>=0</m:t>
                        </m:r>
                      </m:sub>
                      <m:sup>
                        <m:r>
                          <a:rPr lang="ja-JP" altLang="en-US" sz="1600" i="1">
                            <a:latin typeface="Cambria Math" panose="02040503050406030204" pitchFamily="18" charset="0"/>
                          </a:rPr>
                          <m:t>𝑘</m:t>
                        </m:r>
                        <m:r>
                          <a:rPr lang="ja-JP" altLang="en-US" sz="1600" i="1">
                            <a:latin typeface="Cambria Math" panose="02040503050406030204" pitchFamily="18" charset="0"/>
                          </a:rPr>
                          <m:t>−1</m:t>
                        </m:r>
                      </m:sup>
                      <m:e>
                        <m:f>
                          <m:fPr>
                            <m:ctrlPr>
                              <a:rPr lang="ja-JP" altLang="en-US" sz="1600" i="1">
                                <a:latin typeface="Cambria Math" panose="02040503050406030204" pitchFamily="18" charset="0"/>
                              </a:rPr>
                            </m:ctrlPr>
                          </m:fPr>
                          <m:num>
                            <m:sSup>
                              <m:sSupPr>
                                <m:ctrlPr>
                                  <a:rPr lang="en-US" altLang="ja-JP" sz="1600" i="1">
                                    <a:latin typeface="Cambria Math" panose="02040503050406030204" pitchFamily="18" charset="0"/>
                                  </a:rPr>
                                </m:ctrlPr>
                              </m:sSupPr>
                              <m:e>
                                <m:r>
                                  <a:rPr lang="en-US" altLang="ja-JP" sz="1600" i="1">
                                    <a:latin typeface="Cambria Math" panose="02040503050406030204" pitchFamily="18" charset="0"/>
                                  </a:rPr>
                                  <m:t>(</m:t>
                                </m:r>
                                <m:sSubSup>
                                  <m:sSubSupPr>
                                    <m:ctrlPr>
                                      <a:rPr lang="ja-JP" altLang="en-US" sz="1600" i="1">
                                        <a:latin typeface="Cambria Math" panose="02040503050406030204" pitchFamily="18" charset="0"/>
                                      </a:rPr>
                                    </m:ctrlPr>
                                  </m:sSubSupPr>
                                  <m:e>
                                    <m:r>
                                      <a:rPr lang="ja-JP" altLang="en-US" sz="1600" i="1">
                                        <a:latin typeface="Cambria Math" panose="02040503050406030204" pitchFamily="18" charset="0"/>
                                      </a:rPr>
                                      <m:t>𝛽</m:t>
                                    </m:r>
                                  </m:e>
                                  <m:sub>
                                    <m:r>
                                      <a:rPr lang="ja-JP" altLang="en-US" sz="1600" i="1">
                                        <a:latin typeface="Cambria Math" panose="02040503050406030204" pitchFamily="18" charset="0"/>
                                      </a:rPr>
                                      <m:t>𝑖</m:t>
                                    </m:r>
                                  </m:sub>
                                  <m:sup>
                                    <m:r>
                                      <a:rPr lang="en-US" altLang="ja-JP" sz="1600" i="1">
                                        <a:latin typeface="Cambria Math" panose="02040503050406030204" pitchFamily="18" charset="0"/>
                                      </a:rPr>
                                      <m:t>(</m:t>
                                    </m:r>
                                    <m:r>
                                      <a:rPr lang="en-US" altLang="ja-JP" sz="1600" i="1">
                                        <a:latin typeface="Cambria Math" panose="02040503050406030204" pitchFamily="18" charset="0"/>
                                      </a:rPr>
                                      <m:t>𝑛</m:t>
                                    </m:r>
                                    <m:r>
                                      <a:rPr lang="en-US" altLang="ja-JP" sz="1600" i="1">
                                        <a:latin typeface="Cambria Math" panose="02040503050406030204" pitchFamily="18" charset="0"/>
                                      </a:rPr>
                                      <m:t>)</m:t>
                                    </m:r>
                                  </m:sup>
                                </m:sSubSup>
                                <m:sSub>
                                  <m:sSubPr>
                                    <m:ctrlPr>
                                      <a:rPr lang="en-US" altLang="ja-JP" sz="1600" i="1">
                                        <a:latin typeface="Cambria Math" panose="02040503050406030204" pitchFamily="18" charset="0"/>
                                      </a:rPr>
                                    </m:ctrlPr>
                                  </m:sSubPr>
                                  <m:e>
                                    <m:r>
                                      <a:rPr lang="en-US" altLang="ja-JP" sz="1600" i="1">
                                        <a:latin typeface="Cambria Math" panose="02040503050406030204" pitchFamily="18" charset="0"/>
                                      </a:rPr>
                                      <m:t>×</m:t>
                                    </m:r>
                                    <m:r>
                                      <a:rPr lang="en-US" altLang="ja-JP" sz="1600" i="1">
                                        <a:latin typeface="Cambria Math" panose="02040503050406030204" pitchFamily="18" charset="0"/>
                                      </a:rPr>
                                      <m:t>𝑇</m:t>
                                    </m:r>
                                  </m:e>
                                  <m:sub>
                                    <m:r>
                                      <a:rPr lang="ja-JP" altLang="en-US" sz="1600" i="1">
                                        <a:latin typeface="Cambria Math" panose="02040503050406030204" pitchFamily="18" charset="0"/>
                                      </a:rPr>
                                      <m:t>𝑔</m:t>
                                    </m:r>
                                    <m:r>
                                      <a:rPr lang="en-US" altLang="ja-JP" sz="1600">
                                        <a:latin typeface="Cambria Math" panose="02040503050406030204" pitchFamily="18" charset="0"/>
                                      </a:rPr>
                                      <m:t>,</m:t>
                                    </m:r>
                                    <m:r>
                                      <a:rPr lang="ja-JP" altLang="en-US" sz="1600" i="1">
                                        <a:latin typeface="Cambria Math" panose="02040503050406030204" pitchFamily="18" charset="0"/>
                                      </a:rPr>
                                      <m:t>𝑖</m:t>
                                    </m:r>
                                  </m:sub>
                                </m:sSub>
                                <m:r>
                                  <a:rPr lang="en-US" altLang="ja-JP" sz="1600" i="1">
                                    <a:latin typeface="Cambria Math" panose="02040503050406030204" pitchFamily="18" charset="0"/>
                                  </a:rPr>
                                  <m:t>)</m:t>
                                </m:r>
                              </m:e>
                              <m:sup>
                                <m:r>
                                  <a:rPr lang="ja-JP" altLang="en-US" sz="1600" i="1">
                                    <a:latin typeface="Cambria Math" panose="02040503050406030204" pitchFamily="18" charset="0"/>
                                  </a:rPr>
                                  <m:t>𝑙</m:t>
                                </m:r>
                              </m:sup>
                            </m:sSup>
                          </m:num>
                          <m:den>
                            <m:r>
                              <a:rPr lang="ja-JP" altLang="en-US" sz="1600" i="1">
                                <a:latin typeface="Cambria Math" panose="02040503050406030204" pitchFamily="18" charset="0"/>
                              </a:rPr>
                              <m:t>𝑙</m:t>
                            </m:r>
                            <m:r>
                              <a:rPr lang="en-US" altLang="ja-JP" sz="1600" i="1">
                                <a:latin typeface="Cambria Math" panose="02040503050406030204" pitchFamily="18" charset="0"/>
                              </a:rPr>
                              <m:t>!</m:t>
                            </m:r>
                          </m:den>
                        </m:f>
                      </m:e>
                    </m:nary>
                  </m:oMath>
                </a14:m>
                <a:r>
                  <a:rPr lang="ja-JP" altLang="ja-JP" sz="1600">
                    <a:effectLst/>
                  </a:rPr>
                  <a:t> </a:t>
                </a:r>
                <a:endParaRPr kumimoji="1" lang="ja-JP" altLang="en-US" sz="1600"/>
              </a:p>
            </p:txBody>
          </p:sp>
        </mc:Choice>
        <mc:Fallback xmlns="">
          <p:sp>
            <p:nvSpPr>
              <p:cNvPr id="52" name="テキスト ボックス 51">
                <a:extLst>
                  <a:ext uri="{FF2B5EF4-FFF2-40B4-BE49-F238E27FC236}">
                    <a16:creationId xmlns:a16="http://schemas.microsoft.com/office/drawing/2014/main" id="{AB7468DF-75D7-847B-BC29-4E5142183C56}"/>
                  </a:ext>
                </a:extLst>
              </p:cNvPr>
              <p:cNvSpPr txBox="1">
                <a:spLocks noRot="1" noChangeAspect="1" noMove="1" noResize="1" noEditPoints="1" noAdjustHandles="1" noChangeArrowheads="1" noChangeShapeType="1" noTextEdit="1"/>
              </p:cNvSpPr>
              <p:nvPr/>
            </p:nvSpPr>
            <p:spPr>
              <a:xfrm>
                <a:off x="2980095" y="3725122"/>
                <a:ext cx="3712871" cy="532518"/>
              </a:xfrm>
              <a:prstGeom prst="rect">
                <a:avLst/>
              </a:prstGeom>
              <a:blipFill>
                <a:blip r:embed="rId8"/>
                <a:stretch>
                  <a:fillRect t="-44186" b="-102326"/>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53" name="テキスト ボックス 52">
                <a:extLst>
                  <a:ext uri="{FF2B5EF4-FFF2-40B4-BE49-F238E27FC236}">
                    <a16:creationId xmlns:a16="http://schemas.microsoft.com/office/drawing/2014/main" id="{E84D9F8C-E6C9-3430-C0D9-502CFAC250DB}"/>
                  </a:ext>
                </a:extLst>
              </p:cNvPr>
              <p:cNvSpPr txBox="1"/>
              <p:nvPr/>
            </p:nvSpPr>
            <p:spPr>
              <a:xfrm>
                <a:off x="2858670" y="3202433"/>
                <a:ext cx="2225335" cy="507831"/>
              </a:xfrm>
              <a:prstGeom prst="rect">
                <a:avLst/>
              </a:prstGeom>
              <a:noFill/>
            </p:spPr>
            <p:txBody>
              <a:bodyPr wrap="square">
                <a:spAutoFit/>
              </a:bodyPr>
              <a:lstStyle/>
              <a:p>
                <a:pPr marL="265844" lvl="1">
                  <a:spcBef>
                    <a:spcPts val="277"/>
                  </a:spcBef>
                </a:pPr>
                <a:r>
                  <a:rPr lang="en-US" altLang="zh-TW" sz="1300" b="1" i="1" dirty="0">
                    <a:solidFill>
                      <a:schemeClr val="tx2"/>
                    </a:solidFill>
                    <a:highlight>
                      <a:srgbClr val="FFFF00"/>
                    </a:highlight>
                    <a:latin typeface="+mn-lt"/>
                    <a:ea typeface="+mn-ea"/>
                  </a:rPr>
                  <a:t>Completion rate per step </a:t>
                </a:r>
                <a:r>
                  <a:rPr lang="en-US" altLang="zh-TW" sz="1400" b="1" dirty="0">
                    <a:solidFill>
                      <a:schemeClr val="tx2"/>
                    </a:solidFill>
                    <a:highlight>
                      <a:srgbClr val="FFFF00"/>
                    </a:highlight>
                  </a:rPr>
                  <a:t>(</a:t>
                </a:r>
                <a14:m>
                  <m:oMath xmlns:m="http://schemas.openxmlformats.org/officeDocument/2006/math">
                    <m:r>
                      <a:rPr lang="en-US" altLang="zh-TW" sz="1400" b="1" i="1">
                        <a:solidFill>
                          <a:schemeClr val="tx2"/>
                        </a:solidFill>
                        <a:highlight>
                          <a:srgbClr val="FFFF00"/>
                        </a:highlight>
                        <a:latin typeface="Cambria Math" panose="02040503050406030204" pitchFamily="18" charset="0"/>
                        <a:ea typeface="Cambria Math" panose="02040503050406030204" pitchFamily="18" charset="0"/>
                      </a:rPr>
                      <m:t>𝜷</m:t>
                    </m:r>
                  </m:oMath>
                </a14:m>
                <a:r>
                  <a:rPr lang="en-US" altLang="zh-TW" sz="1400" b="1" dirty="0">
                    <a:solidFill>
                      <a:schemeClr val="tx2"/>
                    </a:solidFill>
                    <a:highlight>
                      <a:srgbClr val="FFFF00"/>
                    </a:highlight>
                  </a:rPr>
                  <a:t>)</a:t>
                </a:r>
                <a:r>
                  <a:rPr lang="en-US" altLang="zh-TW" sz="1300" b="1" i="1" dirty="0">
                    <a:solidFill>
                      <a:schemeClr val="tx2"/>
                    </a:solidFill>
                    <a:highlight>
                      <a:srgbClr val="FFFF00"/>
                    </a:highlight>
                    <a:latin typeface="+mn-lt"/>
                    <a:ea typeface="+mn-ea"/>
                  </a:rPr>
                  <a:t> </a:t>
                </a:r>
                <a:r>
                  <a:rPr lang="en-US" altLang="ja-JP" sz="1300" b="1" i="1" dirty="0">
                    <a:solidFill>
                      <a:schemeClr val="tx2"/>
                    </a:solidFill>
                    <a:highlight>
                      <a:srgbClr val="FFFF00"/>
                    </a:highlight>
                  </a:rPr>
                  <a:t>[1/s]</a:t>
                </a:r>
                <a:r>
                  <a:rPr lang="en-US" altLang="ja-JP" sz="1300" b="1" i="1" dirty="0">
                    <a:solidFill>
                      <a:schemeClr val="tx2"/>
                    </a:solidFill>
                  </a:rPr>
                  <a:t> </a:t>
                </a:r>
                <a:r>
                  <a:rPr lang="en-US" altLang="ja-JP" sz="1300" i="1" dirty="0">
                    <a:solidFill>
                      <a:schemeClr val="tx2"/>
                    </a:solidFill>
                    <a:latin typeface="+mn-lt"/>
                    <a:ea typeface="+mn-ea"/>
                  </a:rPr>
                  <a:t>(updating)</a:t>
                </a:r>
              </a:p>
            </p:txBody>
          </p:sp>
        </mc:Choice>
        <mc:Fallback xmlns="">
          <p:sp>
            <p:nvSpPr>
              <p:cNvPr id="53" name="テキスト ボックス 52">
                <a:extLst>
                  <a:ext uri="{FF2B5EF4-FFF2-40B4-BE49-F238E27FC236}">
                    <a16:creationId xmlns:a16="http://schemas.microsoft.com/office/drawing/2014/main" id="{E84D9F8C-E6C9-3430-C0D9-502CFAC250DB}"/>
                  </a:ext>
                </a:extLst>
              </p:cNvPr>
              <p:cNvSpPr txBox="1">
                <a:spLocks noRot="1" noChangeAspect="1" noMove="1" noResize="1" noEditPoints="1" noAdjustHandles="1" noChangeArrowheads="1" noChangeShapeType="1" noTextEdit="1"/>
              </p:cNvSpPr>
              <p:nvPr/>
            </p:nvSpPr>
            <p:spPr>
              <a:xfrm>
                <a:off x="2858670" y="3202433"/>
                <a:ext cx="2225335" cy="507831"/>
              </a:xfrm>
              <a:prstGeom prst="rect">
                <a:avLst/>
              </a:prstGeom>
              <a:blipFill>
                <a:blip r:embed="rId9"/>
                <a:stretch>
                  <a:fillRect t="-2439" r="-568" b="-9756"/>
                </a:stretch>
              </a:blipFill>
            </p:spPr>
            <p:txBody>
              <a:bodyPr/>
              <a:lstStyle/>
              <a:p>
                <a:r>
                  <a:rPr lang="ja-JP" altLang="en-US">
                    <a:noFill/>
                  </a:rPr>
                  <a:t> </a:t>
                </a:r>
              </a:p>
            </p:txBody>
          </p:sp>
        </mc:Fallback>
      </mc:AlternateContent>
      <p:sp>
        <p:nvSpPr>
          <p:cNvPr id="54" name="テキスト ボックス 53">
            <a:extLst>
              <a:ext uri="{FF2B5EF4-FFF2-40B4-BE49-F238E27FC236}">
                <a16:creationId xmlns:a16="http://schemas.microsoft.com/office/drawing/2014/main" id="{A908BD83-52D8-3647-3E01-C8064FDC28CF}"/>
              </a:ext>
            </a:extLst>
          </p:cNvPr>
          <p:cNvSpPr txBox="1"/>
          <p:nvPr/>
        </p:nvSpPr>
        <p:spPr>
          <a:xfrm>
            <a:off x="4900573" y="3399911"/>
            <a:ext cx="1728193" cy="292388"/>
          </a:xfrm>
          <a:prstGeom prst="rect">
            <a:avLst/>
          </a:prstGeom>
          <a:noFill/>
        </p:spPr>
        <p:txBody>
          <a:bodyPr wrap="square">
            <a:spAutoFit/>
          </a:bodyPr>
          <a:lstStyle/>
          <a:p>
            <a:pPr marL="265844" lvl="1">
              <a:spcBef>
                <a:spcPts val="277"/>
              </a:spcBef>
            </a:pPr>
            <a:r>
              <a:rPr lang="en-US" altLang="zh-TW" sz="1300" b="1" i="1" dirty="0">
                <a:solidFill>
                  <a:schemeClr val="tx2"/>
                </a:solidFill>
                <a:latin typeface="+mn-lt"/>
                <a:ea typeface="+mn-ea"/>
              </a:rPr>
              <a:t># of steps </a:t>
            </a:r>
            <a:r>
              <a:rPr lang="en-US" altLang="ja-JP" sz="1300" b="1" i="1" dirty="0">
                <a:solidFill>
                  <a:schemeClr val="tx2"/>
                </a:solidFill>
              </a:rPr>
              <a:t>[-]</a:t>
            </a:r>
            <a:endParaRPr lang="en-US" altLang="ja-JP" sz="1300" i="1" dirty="0">
              <a:solidFill>
                <a:schemeClr val="tx2"/>
              </a:solidFill>
              <a:latin typeface="+mn-lt"/>
              <a:ea typeface="+mn-ea"/>
            </a:endParaRPr>
          </a:p>
        </p:txBody>
      </p:sp>
      <p:cxnSp>
        <p:nvCxnSpPr>
          <p:cNvPr id="67" name="直線矢印コネクタ 66">
            <a:extLst>
              <a:ext uri="{FF2B5EF4-FFF2-40B4-BE49-F238E27FC236}">
                <a16:creationId xmlns:a16="http://schemas.microsoft.com/office/drawing/2014/main" id="{894BF8BA-A92E-A2FB-1F10-7EA8F1ACBAA9}"/>
              </a:ext>
            </a:extLst>
          </p:cNvPr>
          <p:cNvCxnSpPr>
            <a:cxnSpLocks/>
          </p:cNvCxnSpPr>
          <p:nvPr/>
        </p:nvCxnSpPr>
        <p:spPr>
          <a:xfrm>
            <a:off x="4255273" y="3601783"/>
            <a:ext cx="0" cy="26590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B2B00DF8-6879-A11A-4F39-4C1B07D7FCFF}"/>
              </a:ext>
            </a:extLst>
          </p:cNvPr>
          <p:cNvCxnSpPr>
            <a:cxnSpLocks/>
          </p:cNvCxnSpPr>
          <p:nvPr/>
        </p:nvCxnSpPr>
        <p:spPr>
          <a:xfrm>
            <a:off x="5191377" y="3541068"/>
            <a:ext cx="0" cy="353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F882C826-47AA-2168-0188-A0A56C6A46F1}"/>
              </a:ext>
            </a:extLst>
          </p:cNvPr>
          <p:cNvSpPr txBox="1"/>
          <p:nvPr/>
        </p:nvSpPr>
        <p:spPr>
          <a:xfrm>
            <a:off x="2906110" y="4217113"/>
            <a:ext cx="3514235" cy="492443"/>
          </a:xfrm>
          <a:prstGeom prst="rect">
            <a:avLst/>
          </a:prstGeom>
          <a:noFill/>
        </p:spPr>
        <p:txBody>
          <a:bodyPr wrap="square">
            <a:spAutoFit/>
          </a:bodyPr>
          <a:lstStyle/>
          <a:p>
            <a:pPr marL="265844" lvl="1">
              <a:spcBef>
                <a:spcPts val="277"/>
              </a:spcBef>
            </a:pPr>
            <a:r>
              <a:rPr lang="en-US" altLang="zh-TW" sz="1300" b="1" i="1" dirty="0">
                <a:solidFill>
                  <a:schemeClr val="tx2"/>
                </a:solidFill>
                <a:latin typeface="+mn-lt"/>
                <a:ea typeface="+mn-ea"/>
              </a:rPr>
              <a:t>Completion prob. within grace-time </a:t>
            </a:r>
            <a:r>
              <a:rPr lang="en-US" altLang="ja-JP" sz="1300" b="1" i="1" dirty="0">
                <a:solidFill>
                  <a:schemeClr val="tx2"/>
                </a:solidFill>
              </a:rPr>
              <a:t>[-] </a:t>
            </a:r>
            <a:r>
              <a:rPr lang="en-US" altLang="ja-JP" sz="1300" i="1" dirty="0">
                <a:solidFill>
                  <a:schemeClr val="tx2"/>
                </a:solidFill>
              </a:rPr>
              <a:t>(related to the </a:t>
            </a:r>
            <a:r>
              <a:rPr lang="en-US" altLang="ja-JP" sz="1300" b="1" i="1" u="sng" dirty="0">
                <a:solidFill>
                  <a:srgbClr val="C00000"/>
                </a:solidFill>
              </a:rPr>
              <a:t>Visibility</a:t>
            </a:r>
            <a:r>
              <a:rPr lang="en-US" altLang="ja-JP" sz="1300" i="1" dirty="0">
                <a:solidFill>
                  <a:schemeClr val="tx2"/>
                </a:solidFill>
              </a:rPr>
              <a:t>) </a:t>
            </a:r>
          </a:p>
        </p:txBody>
      </p:sp>
      <p:cxnSp>
        <p:nvCxnSpPr>
          <p:cNvPr id="76" name="直線矢印コネクタ 75">
            <a:extLst>
              <a:ext uri="{FF2B5EF4-FFF2-40B4-BE49-F238E27FC236}">
                <a16:creationId xmlns:a16="http://schemas.microsoft.com/office/drawing/2014/main" id="{8499379F-A456-EA4B-DC62-EB5A62D14DB2}"/>
              </a:ext>
            </a:extLst>
          </p:cNvPr>
          <p:cNvCxnSpPr>
            <a:cxnSpLocks/>
          </p:cNvCxnSpPr>
          <p:nvPr/>
        </p:nvCxnSpPr>
        <p:spPr>
          <a:xfrm flipV="1">
            <a:off x="3217537" y="4222773"/>
            <a:ext cx="0" cy="29346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1" name="テキスト ボックス 80">
                <a:extLst>
                  <a:ext uri="{FF2B5EF4-FFF2-40B4-BE49-F238E27FC236}">
                    <a16:creationId xmlns:a16="http://schemas.microsoft.com/office/drawing/2014/main" id="{6ED90AA9-3CB5-FC14-EE14-09945E7AFF83}"/>
                  </a:ext>
                </a:extLst>
              </p:cNvPr>
              <p:cNvSpPr txBox="1"/>
              <p:nvPr/>
            </p:nvSpPr>
            <p:spPr>
              <a:xfrm>
                <a:off x="6674951" y="3649964"/>
                <a:ext cx="2381614" cy="53476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ja-JP" altLang="en-US" sz="1300" i="1">
                              <a:latin typeface="Cambria Math" panose="02040503050406030204" pitchFamily="18" charset="0"/>
                            </a:rPr>
                          </m:ctrlPr>
                        </m:sSubSupPr>
                        <m:e>
                          <m:r>
                            <a:rPr lang="ja-JP" altLang="en-US" sz="1300" i="1">
                              <a:latin typeface="Cambria Math" panose="02040503050406030204" pitchFamily="18" charset="0"/>
                            </a:rPr>
                            <m:t>𝜇</m:t>
                          </m:r>
                        </m:e>
                        <m:sub>
                          <m:r>
                            <a:rPr lang="ja-JP" altLang="en-US" sz="1300" i="1">
                              <a:latin typeface="Cambria Math" panose="02040503050406030204" pitchFamily="18" charset="0"/>
                            </a:rPr>
                            <m:t>𝑖</m:t>
                          </m:r>
                        </m:sub>
                        <m:sup>
                          <m:d>
                            <m:dPr>
                              <m:ctrlPr>
                                <a:rPr lang="ja-JP" altLang="en-US" sz="1300" i="1">
                                  <a:latin typeface="Cambria Math" panose="02040503050406030204" pitchFamily="18" charset="0"/>
                                </a:rPr>
                              </m:ctrlPr>
                            </m:dPr>
                            <m:e>
                              <m:r>
                                <a:rPr lang="ja-JP" altLang="en-US" sz="1300" i="1">
                                  <a:latin typeface="Cambria Math" panose="02040503050406030204" pitchFamily="18" charset="0"/>
                                </a:rPr>
                                <m:t>𝑛</m:t>
                              </m:r>
                            </m:e>
                          </m:d>
                        </m:sup>
                      </m:sSubSup>
                      <m:r>
                        <a:rPr lang="ja-JP" altLang="en-US" sz="1300" i="1">
                          <a:latin typeface="Cambria Math" panose="02040503050406030204" pitchFamily="18" charset="0"/>
                        </a:rPr>
                        <m:t>＝</m:t>
                      </m:r>
                      <m:f>
                        <m:fPr>
                          <m:ctrlPr>
                            <a:rPr lang="ja-JP" altLang="en-US" sz="1300" i="1">
                              <a:latin typeface="Cambria Math" panose="02040503050406030204" pitchFamily="18" charset="0"/>
                            </a:rPr>
                          </m:ctrlPr>
                        </m:fPr>
                        <m:num>
                          <m:sSub>
                            <m:sSubPr>
                              <m:ctrlPr>
                                <a:rPr lang="ja-JP" altLang="en-US" sz="1300" i="1">
                                  <a:latin typeface="Cambria Math" panose="02040503050406030204" pitchFamily="18" charset="0"/>
                                </a:rPr>
                              </m:ctrlPr>
                            </m:sSubPr>
                            <m:e>
                              <m:r>
                                <a:rPr lang="ja-JP" altLang="en-US" sz="1300" i="1">
                                  <a:latin typeface="Cambria Math" panose="02040503050406030204" pitchFamily="18" charset="0"/>
                                </a:rPr>
                                <m:t>𝑃𝐷𝐹</m:t>
                              </m:r>
                            </m:e>
                            <m:sub>
                              <m:r>
                                <a:rPr lang="ja-JP" altLang="en-US" sz="1300" i="1">
                                  <a:latin typeface="Cambria Math" panose="02040503050406030204" pitchFamily="18" charset="0"/>
                                </a:rPr>
                                <m:t>𝐸𝑟𝑙𝑎𝑛𝑔</m:t>
                              </m:r>
                              <m:r>
                                <a:rPr lang="ja-JP" altLang="en-US" sz="1300" i="1">
                                  <a:latin typeface="Cambria Math" panose="02040503050406030204" pitchFamily="18" charset="0"/>
                                </a:rPr>
                                <m:t> </m:t>
                              </m:r>
                              <m:r>
                                <a:rPr lang="ja-JP" altLang="en-US" sz="1300" i="1">
                                  <a:latin typeface="Cambria Math" panose="02040503050406030204" pitchFamily="18" charset="0"/>
                                </a:rPr>
                                <m:t>𝑑𝑖𝑠𝑡𝑟𝑖𝑏𝑢𝑡𝑖𝑜𝑛</m:t>
                              </m:r>
                            </m:sub>
                          </m:sSub>
                        </m:num>
                        <m:den>
                          <m:r>
                            <a:rPr lang="en-US" altLang="ja-JP" sz="1300" i="1">
                              <a:latin typeface="Cambria Math" panose="02040503050406030204" pitchFamily="18" charset="0"/>
                            </a:rPr>
                            <m:t>1−</m:t>
                          </m:r>
                          <m:sSub>
                            <m:sSubPr>
                              <m:ctrlPr>
                                <a:rPr lang="ja-JP" altLang="en-US" sz="1300" i="1">
                                  <a:latin typeface="Cambria Math" panose="02040503050406030204" pitchFamily="18" charset="0"/>
                                </a:rPr>
                              </m:ctrlPr>
                            </m:sSubPr>
                            <m:e>
                              <m:r>
                                <a:rPr lang="ja-JP" altLang="en-US" sz="1300" i="1">
                                  <a:latin typeface="Cambria Math" panose="02040503050406030204" pitchFamily="18" charset="0"/>
                                </a:rPr>
                                <m:t>𝐶𝐷𝐹</m:t>
                              </m:r>
                            </m:e>
                            <m:sub>
                              <m:r>
                                <a:rPr lang="ja-JP" altLang="en-US" sz="1300" i="1">
                                  <a:latin typeface="Cambria Math" panose="02040503050406030204" pitchFamily="18" charset="0"/>
                                </a:rPr>
                                <m:t>𝐸𝑟𝑙𝑎𝑛𝑔</m:t>
                              </m:r>
                              <m:r>
                                <a:rPr lang="ja-JP" altLang="en-US" sz="1300" i="1">
                                  <a:latin typeface="Cambria Math" panose="02040503050406030204" pitchFamily="18" charset="0"/>
                                </a:rPr>
                                <m:t> </m:t>
                              </m:r>
                              <m:r>
                                <a:rPr lang="ja-JP" altLang="en-US" sz="1300" i="1">
                                  <a:latin typeface="Cambria Math" panose="02040503050406030204" pitchFamily="18" charset="0"/>
                                </a:rPr>
                                <m:t>𝑑𝑖𝑠𝑡𝑟𝑖𝑏𝑢𝑡𝑖𝑜𝑛</m:t>
                              </m:r>
                            </m:sub>
                          </m:sSub>
                        </m:den>
                      </m:f>
                    </m:oMath>
                  </m:oMathPara>
                </a14:m>
                <a:endParaRPr kumimoji="1" lang="ja-JP" altLang="en-US" sz="1300"/>
              </a:p>
            </p:txBody>
          </p:sp>
        </mc:Choice>
        <mc:Fallback xmlns="">
          <p:sp>
            <p:nvSpPr>
              <p:cNvPr id="81" name="テキスト ボックス 80">
                <a:extLst>
                  <a:ext uri="{FF2B5EF4-FFF2-40B4-BE49-F238E27FC236}">
                    <a16:creationId xmlns:a16="http://schemas.microsoft.com/office/drawing/2014/main" id="{6ED90AA9-3CB5-FC14-EE14-09945E7AFF83}"/>
                  </a:ext>
                </a:extLst>
              </p:cNvPr>
              <p:cNvSpPr txBox="1">
                <a:spLocks noRot="1" noChangeAspect="1" noMove="1" noResize="1" noEditPoints="1" noAdjustHandles="1" noChangeArrowheads="1" noChangeShapeType="1" noTextEdit="1"/>
              </p:cNvSpPr>
              <p:nvPr/>
            </p:nvSpPr>
            <p:spPr>
              <a:xfrm>
                <a:off x="6674951" y="3649964"/>
                <a:ext cx="2381614" cy="534762"/>
              </a:xfrm>
              <a:prstGeom prst="rect">
                <a:avLst/>
              </a:prstGeom>
              <a:blipFill>
                <a:blip r:embed="rId10"/>
                <a:stretch>
                  <a:fillRect b="-2326"/>
                </a:stretch>
              </a:blipFill>
            </p:spPr>
            <p:txBody>
              <a:bodyPr/>
              <a:lstStyle/>
              <a:p>
                <a:r>
                  <a:rPr lang="ja-JP" altLang="en-US">
                    <a:noFill/>
                  </a:rPr>
                  <a:t> </a:t>
                </a:r>
              </a:p>
            </p:txBody>
          </p:sp>
        </mc:Fallback>
      </mc:AlternateContent>
      <p:cxnSp>
        <p:nvCxnSpPr>
          <p:cNvPr id="82" name="直線コネクタ 81">
            <a:extLst>
              <a:ext uri="{FF2B5EF4-FFF2-40B4-BE49-F238E27FC236}">
                <a16:creationId xmlns:a16="http://schemas.microsoft.com/office/drawing/2014/main" id="{99547DA7-6B1C-0A8F-15C3-441D12E549D5}"/>
              </a:ext>
            </a:extLst>
          </p:cNvPr>
          <p:cNvCxnSpPr>
            <a:cxnSpLocks/>
          </p:cNvCxnSpPr>
          <p:nvPr/>
        </p:nvCxnSpPr>
        <p:spPr>
          <a:xfrm>
            <a:off x="3156382" y="3126055"/>
            <a:ext cx="280320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6" name="矢印: 右 25">
            <a:extLst>
              <a:ext uri="{FF2B5EF4-FFF2-40B4-BE49-F238E27FC236}">
                <a16:creationId xmlns:a16="http://schemas.microsoft.com/office/drawing/2014/main" id="{E4603560-09D5-DAF7-E1C4-20D7A0B69490}"/>
              </a:ext>
            </a:extLst>
          </p:cNvPr>
          <p:cNvSpPr/>
          <p:nvPr/>
        </p:nvSpPr>
        <p:spPr>
          <a:xfrm>
            <a:off x="6334408" y="3732834"/>
            <a:ext cx="330011" cy="32316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ja-JP" altLang="en-US" sz="1500" b="1" dirty="0"/>
          </a:p>
        </p:txBody>
      </p:sp>
      <p:sp>
        <p:nvSpPr>
          <p:cNvPr id="89" name="テキスト ボックス 88">
            <a:extLst>
              <a:ext uri="{FF2B5EF4-FFF2-40B4-BE49-F238E27FC236}">
                <a16:creationId xmlns:a16="http://schemas.microsoft.com/office/drawing/2014/main" id="{DE0C44A5-9E9D-B63B-84F6-2B365D7A9390}"/>
              </a:ext>
            </a:extLst>
          </p:cNvPr>
          <p:cNvSpPr txBox="1"/>
          <p:nvPr/>
        </p:nvSpPr>
        <p:spPr>
          <a:xfrm>
            <a:off x="6515430" y="3156302"/>
            <a:ext cx="2613330" cy="507831"/>
          </a:xfrm>
          <a:prstGeom prst="rect">
            <a:avLst/>
          </a:prstGeom>
          <a:noFill/>
        </p:spPr>
        <p:txBody>
          <a:bodyPr wrap="square">
            <a:spAutoFit/>
          </a:bodyPr>
          <a:lstStyle/>
          <a:p>
            <a:pPr marL="265844" lvl="1">
              <a:spcBef>
                <a:spcPts val="277"/>
              </a:spcBef>
            </a:pPr>
            <a:r>
              <a:rPr lang="en-US" altLang="ja-JP" sz="1300" b="1" i="1" dirty="0">
                <a:solidFill>
                  <a:schemeClr val="tx2"/>
                </a:solidFill>
                <a:highlight>
                  <a:srgbClr val="FFFF00"/>
                </a:highlight>
                <a:latin typeface="+mn-lt"/>
                <a:ea typeface="+mn-ea"/>
              </a:rPr>
              <a:t>Repair </a:t>
            </a:r>
            <a:r>
              <a:rPr lang="en-US" altLang="zh-TW" sz="1300" b="1" i="1" dirty="0">
                <a:solidFill>
                  <a:schemeClr val="tx2"/>
                </a:solidFill>
                <a:highlight>
                  <a:srgbClr val="FFFF00"/>
                </a:highlight>
                <a:latin typeface="+mn-lt"/>
                <a:ea typeface="+mn-ea"/>
              </a:rPr>
              <a:t>Completion rate (</a:t>
            </a:r>
            <a:r>
              <a:rPr lang="el-GR" altLang="ja-JP" sz="1400" b="1" i="1" dirty="0">
                <a:solidFill>
                  <a:schemeClr val="tx2"/>
                </a:solidFill>
                <a:highlight>
                  <a:srgbClr val="FFFF00"/>
                </a:highlight>
              </a:rPr>
              <a:t>μ</a:t>
            </a:r>
            <a:r>
              <a:rPr lang="en-US" altLang="zh-TW" sz="1300" b="1" i="1" dirty="0">
                <a:solidFill>
                  <a:schemeClr val="tx2"/>
                </a:solidFill>
                <a:highlight>
                  <a:srgbClr val="FFFF00"/>
                </a:highlight>
                <a:latin typeface="+mn-lt"/>
                <a:ea typeface="+mn-ea"/>
              </a:rPr>
              <a:t>) </a:t>
            </a:r>
            <a:r>
              <a:rPr lang="en-US" altLang="ja-JP" sz="1300" b="1" i="1" dirty="0">
                <a:solidFill>
                  <a:schemeClr val="tx2"/>
                </a:solidFill>
                <a:highlight>
                  <a:srgbClr val="FFFF00"/>
                </a:highlight>
              </a:rPr>
              <a:t>[1/s]</a:t>
            </a:r>
            <a:r>
              <a:rPr lang="en-US" altLang="ja-JP" sz="1300" b="1" i="1" dirty="0">
                <a:solidFill>
                  <a:schemeClr val="tx2"/>
                </a:solidFill>
              </a:rPr>
              <a:t> </a:t>
            </a:r>
            <a:r>
              <a:rPr lang="en-US" altLang="ja-JP" sz="1300" i="1" dirty="0">
                <a:solidFill>
                  <a:schemeClr val="tx2"/>
                </a:solidFill>
              </a:rPr>
              <a:t>(updating)</a:t>
            </a:r>
            <a:endParaRPr lang="en-US" altLang="ja-JP" sz="1300" i="1" dirty="0">
              <a:solidFill>
                <a:schemeClr val="tx2"/>
              </a:solidFill>
              <a:latin typeface="+mn-lt"/>
              <a:ea typeface="+mn-ea"/>
            </a:endParaRPr>
          </a:p>
        </p:txBody>
      </p:sp>
      <p:cxnSp>
        <p:nvCxnSpPr>
          <p:cNvPr id="90" name="直線矢印コネクタ 89">
            <a:extLst>
              <a:ext uri="{FF2B5EF4-FFF2-40B4-BE49-F238E27FC236}">
                <a16:creationId xmlns:a16="http://schemas.microsoft.com/office/drawing/2014/main" id="{A4A485F3-DDFD-6A3A-ADCC-83755F1F7F02}"/>
              </a:ext>
            </a:extLst>
          </p:cNvPr>
          <p:cNvCxnSpPr>
            <a:cxnSpLocks/>
          </p:cNvCxnSpPr>
          <p:nvPr/>
        </p:nvCxnSpPr>
        <p:spPr>
          <a:xfrm flipV="1">
            <a:off x="8028384" y="4150960"/>
            <a:ext cx="0" cy="2133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4" name="テキスト ボックス 93">
                <a:extLst>
                  <a:ext uri="{FF2B5EF4-FFF2-40B4-BE49-F238E27FC236}">
                    <a16:creationId xmlns:a16="http://schemas.microsoft.com/office/drawing/2014/main" id="{366B573F-A7D6-C1E4-1AA4-6932047DE173}"/>
                  </a:ext>
                </a:extLst>
              </p:cNvPr>
              <p:cNvSpPr txBox="1"/>
              <p:nvPr/>
            </p:nvSpPr>
            <p:spPr>
              <a:xfrm>
                <a:off x="6515430" y="4244540"/>
                <a:ext cx="2900376" cy="507831"/>
              </a:xfrm>
              <a:prstGeom prst="rect">
                <a:avLst/>
              </a:prstGeom>
              <a:noFill/>
            </p:spPr>
            <p:txBody>
              <a:bodyPr wrap="square">
                <a:spAutoFit/>
              </a:bodyPr>
              <a:lstStyle/>
              <a:p>
                <a:pPr marL="265844" lvl="1">
                  <a:spcBef>
                    <a:spcPts val="277"/>
                  </a:spcBef>
                </a:pPr>
                <a:r>
                  <a:rPr lang="en-US" altLang="ja-JP" sz="1300" b="1" i="1" dirty="0">
                    <a:solidFill>
                      <a:schemeClr val="tx2"/>
                    </a:solidFill>
                    <a:latin typeface="+mn-lt"/>
                    <a:ea typeface="+mn-ea"/>
                  </a:rPr>
                  <a:t>Input: (1) the </a:t>
                </a:r>
                <a:r>
                  <a:rPr lang="en-US" altLang="ja-JP" sz="1300" b="1" i="1" dirty="0">
                    <a:solidFill>
                      <a:srgbClr val="C00000"/>
                    </a:solidFill>
                    <a:latin typeface="+mn-lt"/>
                    <a:ea typeface="+mn-ea"/>
                  </a:rPr>
                  <a:t>updated </a:t>
                </a:r>
                <a14:m>
                  <m:oMath xmlns:m="http://schemas.openxmlformats.org/officeDocument/2006/math">
                    <m:r>
                      <a:rPr lang="en-US" altLang="zh-TW" sz="1400" b="1" i="1">
                        <a:solidFill>
                          <a:srgbClr val="C00000"/>
                        </a:solidFill>
                        <a:latin typeface="Cambria Math" panose="02040503050406030204" pitchFamily="18" charset="0"/>
                        <a:ea typeface="Cambria Math" panose="02040503050406030204" pitchFamily="18" charset="0"/>
                      </a:rPr>
                      <m:t>𝜷</m:t>
                    </m:r>
                  </m:oMath>
                </a14:m>
                <a:br>
                  <a:rPr lang="en-US" altLang="ja-JP" sz="1300" b="1" i="1" dirty="0">
                    <a:solidFill>
                      <a:schemeClr val="tx2"/>
                    </a:solidFill>
                    <a:latin typeface="+mn-lt"/>
                    <a:ea typeface="+mn-ea"/>
                  </a:rPr>
                </a:br>
                <a:r>
                  <a:rPr lang="en-US" altLang="ja-JP" sz="1300" b="1" i="1" dirty="0">
                    <a:solidFill>
                      <a:schemeClr val="tx2"/>
                    </a:solidFill>
                    <a:latin typeface="+mn-lt"/>
                    <a:ea typeface="+mn-ea"/>
                  </a:rPr>
                  <a:t>(2) </a:t>
                </a:r>
                <a:r>
                  <a:rPr lang="en-US" altLang="ja-JP" sz="1300" b="1" i="1" dirty="0">
                    <a:solidFill>
                      <a:srgbClr val="C00000"/>
                    </a:solidFill>
                    <a:latin typeface="+mn-lt"/>
                    <a:ea typeface="+mn-ea"/>
                  </a:rPr>
                  <a:t>Cumulative Repair Time</a:t>
                </a:r>
              </a:p>
            </p:txBody>
          </p:sp>
        </mc:Choice>
        <mc:Fallback xmlns="">
          <p:sp>
            <p:nvSpPr>
              <p:cNvPr id="94" name="テキスト ボックス 93">
                <a:extLst>
                  <a:ext uri="{FF2B5EF4-FFF2-40B4-BE49-F238E27FC236}">
                    <a16:creationId xmlns:a16="http://schemas.microsoft.com/office/drawing/2014/main" id="{366B573F-A7D6-C1E4-1AA4-6932047DE173}"/>
                  </a:ext>
                </a:extLst>
              </p:cNvPr>
              <p:cNvSpPr txBox="1">
                <a:spLocks noRot="1" noChangeAspect="1" noMove="1" noResize="1" noEditPoints="1" noAdjustHandles="1" noChangeArrowheads="1" noChangeShapeType="1" noTextEdit="1"/>
              </p:cNvSpPr>
              <p:nvPr/>
            </p:nvSpPr>
            <p:spPr>
              <a:xfrm>
                <a:off x="6515430" y="4244540"/>
                <a:ext cx="2900376" cy="507831"/>
              </a:xfrm>
              <a:prstGeom prst="rect">
                <a:avLst/>
              </a:prstGeom>
              <a:blipFill>
                <a:blip r:embed="rId11"/>
                <a:stretch>
                  <a:fillRect b="-9756"/>
                </a:stretch>
              </a:blipFill>
            </p:spPr>
            <p:txBody>
              <a:bodyPr/>
              <a:lstStyle/>
              <a:p>
                <a:r>
                  <a:rPr lang="ja-JP" altLang="en-US">
                    <a:noFill/>
                  </a:rPr>
                  <a:t> </a:t>
                </a:r>
              </a:p>
            </p:txBody>
          </p:sp>
        </mc:Fallback>
      </mc:AlternateContent>
      <p:cxnSp>
        <p:nvCxnSpPr>
          <p:cNvPr id="95" name="直線矢印コネクタ 94">
            <a:extLst>
              <a:ext uri="{FF2B5EF4-FFF2-40B4-BE49-F238E27FC236}">
                <a16:creationId xmlns:a16="http://schemas.microsoft.com/office/drawing/2014/main" id="{ED830DCE-99CF-D36C-2D68-E84CC985624D}"/>
              </a:ext>
            </a:extLst>
          </p:cNvPr>
          <p:cNvCxnSpPr>
            <a:cxnSpLocks/>
          </p:cNvCxnSpPr>
          <p:nvPr/>
        </p:nvCxnSpPr>
        <p:spPr>
          <a:xfrm>
            <a:off x="6858254" y="3615648"/>
            <a:ext cx="0" cy="26590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0" name="図 99">
            <a:extLst>
              <a:ext uri="{FF2B5EF4-FFF2-40B4-BE49-F238E27FC236}">
                <a16:creationId xmlns:a16="http://schemas.microsoft.com/office/drawing/2014/main" id="{6F94612B-75AC-FBB4-9484-5A79A9C7E445}"/>
              </a:ext>
            </a:extLst>
          </p:cNvPr>
          <p:cNvPicPr>
            <a:picLocks noChangeAspect="1"/>
          </p:cNvPicPr>
          <p:nvPr/>
        </p:nvPicPr>
        <p:blipFill>
          <a:blip r:embed="rId12"/>
          <a:stretch>
            <a:fillRect/>
          </a:stretch>
        </p:blipFill>
        <p:spPr>
          <a:xfrm>
            <a:off x="3376765" y="4858746"/>
            <a:ext cx="5430520" cy="1455420"/>
          </a:xfrm>
          <a:prstGeom prst="rect">
            <a:avLst/>
          </a:prstGeom>
        </p:spPr>
      </p:pic>
      <mc:AlternateContent xmlns:mc="http://schemas.openxmlformats.org/markup-compatibility/2006" xmlns:a14="http://schemas.microsoft.com/office/drawing/2010/main">
        <mc:Choice Requires="a14">
          <p:sp>
            <p:nvSpPr>
              <p:cNvPr id="101" name="テキスト ボックス 100">
                <a:extLst>
                  <a:ext uri="{FF2B5EF4-FFF2-40B4-BE49-F238E27FC236}">
                    <a16:creationId xmlns:a16="http://schemas.microsoft.com/office/drawing/2014/main" id="{F74A6460-626C-B26F-02E1-E662D5E8EDE4}"/>
                  </a:ext>
                </a:extLst>
              </p:cNvPr>
              <p:cNvSpPr txBox="1"/>
              <p:nvPr/>
            </p:nvSpPr>
            <p:spPr>
              <a:xfrm rot="16200000">
                <a:off x="2843342" y="5359044"/>
                <a:ext cx="1138756" cy="300019"/>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sz="1000" i="1">
                              <a:latin typeface="Cambria Math" panose="02040503050406030204" pitchFamily="18" charset="0"/>
                            </a:rPr>
                          </m:ctrlPr>
                        </m:sSubSupPr>
                        <m:e>
                          <m:r>
                            <a:rPr lang="ja-JP" altLang="en-US" sz="1000" i="1">
                              <a:latin typeface="Cambria Math" panose="02040503050406030204" pitchFamily="18" charset="0"/>
                            </a:rPr>
                            <m:t>𝜇</m:t>
                          </m:r>
                        </m:e>
                        <m:sub>
                          <m:r>
                            <a:rPr lang="ja-JP" altLang="en-US" sz="1000" i="1">
                              <a:latin typeface="Cambria Math" panose="02040503050406030204" pitchFamily="18" charset="0"/>
                            </a:rPr>
                            <m:t>𝑖</m:t>
                          </m:r>
                          <m:r>
                            <a:rPr lang="en-US" altLang="ja-JP" sz="1000" i="1">
                              <a:latin typeface="Cambria Math" panose="02040503050406030204" pitchFamily="18" charset="0"/>
                            </a:rPr>
                            <m:t>, </m:t>
                          </m:r>
                          <m:r>
                            <a:rPr lang="en-US" altLang="ja-JP" sz="1000" i="1">
                              <a:latin typeface="Cambria Math" panose="02040503050406030204" pitchFamily="18" charset="0"/>
                            </a:rPr>
                            <m:t>𝑡𝑎𝑠𝑘</m:t>
                          </m:r>
                          <m:r>
                            <a:rPr lang="en-US" altLang="ja-JP" sz="1000" i="1">
                              <a:latin typeface="Cambria Math" panose="02040503050406030204" pitchFamily="18" charset="0"/>
                            </a:rPr>
                            <m:t>1</m:t>
                          </m:r>
                        </m:sub>
                        <m:sup>
                          <m:r>
                            <a:rPr lang="en-US" altLang="ja-JP" sz="1000" i="1">
                              <a:latin typeface="Cambria Math" panose="02040503050406030204" pitchFamily="18" charset="0"/>
                            </a:rPr>
                            <m:t>(</m:t>
                          </m:r>
                          <m:r>
                            <a:rPr lang="en-US" altLang="ja-JP" sz="1000" i="1">
                              <a:latin typeface="Cambria Math" panose="02040503050406030204" pitchFamily="18" charset="0"/>
                            </a:rPr>
                            <m:t>𝑛</m:t>
                          </m:r>
                          <m:r>
                            <a:rPr lang="en-US" altLang="ja-JP" sz="1000" i="1">
                              <a:latin typeface="Cambria Math" panose="02040503050406030204" pitchFamily="18" charset="0"/>
                            </a:rPr>
                            <m:t>)</m:t>
                          </m:r>
                        </m:sup>
                      </m:sSubSup>
                      <m:r>
                        <a:rPr lang="en-US" altLang="ja-JP" sz="1000" b="0" i="1" smtClean="0">
                          <a:latin typeface="Cambria Math" panose="02040503050406030204" pitchFamily="18" charset="0"/>
                        </a:rPr>
                        <m:t>[</m:t>
                      </m:r>
                      <m:r>
                        <a:rPr lang="en-US" altLang="ja-JP" sz="1000" b="0" i="0" smtClean="0">
                          <a:latin typeface="Cambria Math" panose="02040503050406030204" pitchFamily="18" charset="0"/>
                        </a:rPr>
                        <m:t>1/</m:t>
                      </m:r>
                      <m:r>
                        <m:rPr>
                          <m:sty m:val="p"/>
                        </m:rPr>
                        <a:rPr lang="en-US" altLang="ja-JP" sz="1000" b="0" i="0" smtClean="0">
                          <a:latin typeface="Cambria Math" panose="02040503050406030204" pitchFamily="18" charset="0"/>
                        </a:rPr>
                        <m:t>min</m:t>
                      </m:r>
                      <m:r>
                        <a:rPr lang="en-US" altLang="ja-JP" sz="1000" b="0" i="1" smtClean="0">
                          <a:latin typeface="Cambria Math" panose="02040503050406030204" pitchFamily="18" charset="0"/>
                        </a:rPr>
                        <m:t>]</m:t>
                      </m:r>
                    </m:oMath>
                  </m:oMathPara>
                </a14:m>
                <a:endParaRPr lang="ja-JP" altLang="en-US" sz="1000"/>
              </a:p>
            </p:txBody>
          </p:sp>
        </mc:Choice>
        <mc:Fallback xmlns="">
          <p:sp>
            <p:nvSpPr>
              <p:cNvPr id="101" name="テキスト ボックス 100">
                <a:extLst>
                  <a:ext uri="{FF2B5EF4-FFF2-40B4-BE49-F238E27FC236}">
                    <a16:creationId xmlns:a16="http://schemas.microsoft.com/office/drawing/2014/main" id="{F74A6460-626C-B26F-02E1-E662D5E8EDE4}"/>
                  </a:ext>
                </a:extLst>
              </p:cNvPr>
              <p:cNvSpPr txBox="1">
                <a:spLocks noRot="1" noChangeAspect="1" noMove="1" noResize="1" noEditPoints="1" noAdjustHandles="1" noChangeArrowheads="1" noChangeShapeType="1" noTextEdit="1"/>
              </p:cNvSpPr>
              <p:nvPr/>
            </p:nvSpPr>
            <p:spPr>
              <a:xfrm rot="16200000">
                <a:off x="2843342" y="5359044"/>
                <a:ext cx="1138756" cy="300019"/>
              </a:xfrm>
              <a:prstGeom prst="rect">
                <a:avLst/>
              </a:prstGeom>
              <a:blipFill>
                <a:blip r:embed="rId13"/>
                <a:stretch>
                  <a:fillRect/>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02" name="テキスト ボックス 101">
                <a:extLst>
                  <a:ext uri="{FF2B5EF4-FFF2-40B4-BE49-F238E27FC236}">
                    <a16:creationId xmlns:a16="http://schemas.microsoft.com/office/drawing/2014/main" id="{97A3488E-79AB-6317-59C2-3A19C088D3CE}"/>
                  </a:ext>
                </a:extLst>
              </p:cNvPr>
              <p:cNvSpPr txBox="1"/>
              <p:nvPr/>
            </p:nvSpPr>
            <p:spPr>
              <a:xfrm rot="20606496">
                <a:off x="4897123" y="6086909"/>
                <a:ext cx="907034" cy="215444"/>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ja-JP" sz="800" b="0" i="1" smtClean="0">
                          <a:latin typeface="Cambria Math" panose="02040503050406030204" pitchFamily="18" charset="0"/>
                        </a:rPr>
                        <m:t>𝑉𝑖𝑠𝑖𝑏𝑖𝑙𝑖𝑡𝑦</m:t>
                      </m:r>
                      <m:r>
                        <a:rPr lang="en-US" altLang="ja-JP" sz="800" b="0" i="1" smtClean="0">
                          <a:latin typeface="Cambria Math" panose="02040503050406030204" pitchFamily="18" charset="0"/>
                        </a:rPr>
                        <m:t>[</m:t>
                      </m:r>
                      <m:r>
                        <m:rPr>
                          <m:sty m:val="p"/>
                        </m:rPr>
                        <a:rPr lang="en-US" altLang="ja-JP" sz="800" i="1">
                          <a:latin typeface="Cambria Math" panose="02040503050406030204" pitchFamily="18" charset="0"/>
                        </a:rPr>
                        <m:t>m</m:t>
                      </m:r>
                      <m:r>
                        <a:rPr lang="en-US" altLang="ja-JP" sz="800" b="0" i="1" smtClean="0">
                          <a:latin typeface="Cambria Math" panose="02040503050406030204" pitchFamily="18" charset="0"/>
                        </a:rPr>
                        <m:t>]</m:t>
                      </m:r>
                    </m:oMath>
                  </m:oMathPara>
                </a14:m>
                <a:endParaRPr lang="ja-JP" altLang="en-US" sz="800"/>
              </a:p>
            </p:txBody>
          </p:sp>
        </mc:Choice>
        <mc:Fallback xmlns="">
          <p:sp>
            <p:nvSpPr>
              <p:cNvPr id="102" name="テキスト ボックス 101">
                <a:extLst>
                  <a:ext uri="{FF2B5EF4-FFF2-40B4-BE49-F238E27FC236}">
                    <a16:creationId xmlns:a16="http://schemas.microsoft.com/office/drawing/2014/main" id="{97A3488E-79AB-6317-59C2-3A19C088D3CE}"/>
                  </a:ext>
                </a:extLst>
              </p:cNvPr>
              <p:cNvSpPr txBox="1">
                <a:spLocks noRot="1" noChangeAspect="1" noMove="1" noResize="1" noEditPoints="1" noAdjustHandles="1" noChangeArrowheads="1" noChangeShapeType="1" noTextEdit="1"/>
              </p:cNvSpPr>
              <p:nvPr/>
            </p:nvSpPr>
            <p:spPr>
              <a:xfrm rot="20606496">
                <a:off x="4897123" y="6086909"/>
                <a:ext cx="907034" cy="215444"/>
              </a:xfrm>
              <a:prstGeom prst="rect">
                <a:avLst/>
              </a:prstGeom>
              <a:blipFill>
                <a:blip r:embed="rId14"/>
                <a:stretch>
                  <a:fillRect/>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03" name="テキスト ボックス 102">
                <a:extLst>
                  <a:ext uri="{FF2B5EF4-FFF2-40B4-BE49-F238E27FC236}">
                    <a16:creationId xmlns:a16="http://schemas.microsoft.com/office/drawing/2014/main" id="{B5E8F686-0925-22D7-21AA-850599F6331F}"/>
                  </a:ext>
                </a:extLst>
              </p:cNvPr>
              <p:cNvSpPr txBox="1"/>
              <p:nvPr/>
            </p:nvSpPr>
            <p:spPr>
              <a:xfrm rot="910234">
                <a:off x="3463675" y="6110032"/>
                <a:ext cx="1302048" cy="215444"/>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ja-JP" sz="800" b="0" i="1" smtClean="0">
                          <a:latin typeface="Cambria Math" panose="02040503050406030204" pitchFamily="18" charset="0"/>
                        </a:rPr>
                        <m:t>𝑃𝑎𝑠𝑠𝑒𝑑</m:t>
                      </m:r>
                      <m:r>
                        <a:rPr lang="en-US" altLang="ja-JP" sz="800" b="0" i="1" smtClean="0">
                          <a:latin typeface="Cambria Math" panose="02040503050406030204" pitchFamily="18" charset="0"/>
                        </a:rPr>
                        <m:t> </m:t>
                      </m:r>
                      <m:r>
                        <a:rPr lang="en-US" altLang="ja-JP" sz="800" b="0" i="1" smtClean="0">
                          <a:latin typeface="Cambria Math" panose="02040503050406030204" pitchFamily="18" charset="0"/>
                        </a:rPr>
                        <m:t>𝑅𝑒𝑝𝑎𝑖𝑟</m:t>
                      </m:r>
                      <m:r>
                        <a:rPr lang="en-US" altLang="ja-JP" sz="800" b="0" i="1" smtClean="0">
                          <a:latin typeface="Cambria Math" panose="02040503050406030204" pitchFamily="18" charset="0"/>
                        </a:rPr>
                        <m:t> </m:t>
                      </m:r>
                      <m:r>
                        <a:rPr lang="en-US" altLang="ja-JP" sz="800" b="0" i="1" smtClean="0">
                          <a:latin typeface="Cambria Math" panose="02040503050406030204" pitchFamily="18" charset="0"/>
                        </a:rPr>
                        <m:t>𝑡𝑖𝑚𝑒</m:t>
                      </m:r>
                      <m:r>
                        <a:rPr lang="en-US" altLang="ja-JP" sz="800" b="0" i="1" smtClean="0">
                          <a:latin typeface="Cambria Math" panose="02040503050406030204" pitchFamily="18" charset="0"/>
                        </a:rPr>
                        <m:t> [</m:t>
                      </m:r>
                      <m:r>
                        <m:rPr>
                          <m:sty m:val="p"/>
                        </m:rPr>
                        <a:rPr lang="en-US" altLang="ja-JP" sz="800" b="0" i="0" smtClean="0">
                          <a:latin typeface="Cambria Math" panose="02040503050406030204" pitchFamily="18" charset="0"/>
                        </a:rPr>
                        <m:t>min</m:t>
                      </m:r>
                      <m:r>
                        <a:rPr lang="en-US" altLang="ja-JP" sz="800" b="0" i="1" smtClean="0">
                          <a:latin typeface="Cambria Math" panose="02040503050406030204" pitchFamily="18" charset="0"/>
                        </a:rPr>
                        <m:t>]</m:t>
                      </m:r>
                    </m:oMath>
                  </m:oMathPara>
                </a14:m>
                <a:endParaRPr lang="ja-JP" altLang="en-US" sz="800"/>
              </a:p>
            </p:txBody>
          </p:sp>
        </mc:Choice>
        <mc:Fallback xmlns="">
          <p:sp>
            <p:nvSpPr>
              <p:cNvPr id="103" name="テキスト ボックス 102">
                <a:extLst>
                  <a:ext uri="{FF2B5EF4-FFF2-40B4-BE49-F238E27FC236}">
                    <a16:creationId xmlns:a16="http://schemas.microsoft.com/office/drawing/2014/main" id="{B5E8F686-0925-22D7-21AA-850599F6331F}"/>
                  </a:ext>
                </a:extLst>
              </p:cNvPr>
              <p:cNvSpPr txBox="1">
                <a:spLocks noRot="1" noChangeAspect="1" noMove="1" noResize="1" noEditPoints="1" noAdjustHandles="1" noChangeArrowheads="1" noChangeShapeType="1" noTextEdit="1"/>
              </p:cNvSpPr>
              <p:nvPr/>
            </p:nvSpPr>
            <p:spPr>
              <a:xfrm rot="910234">
                <a:off x="3463675" y="6110032"/>
                <a:ext cx="1302048" cy="215444"/>
              </a:xfrm>
              <a:prstGeom prst="rect">
                <a:avLst/>
              </a:prstGeom>
              <a:blipFill>
                <a:blip r:embed="rId15"/>
                <a:stretch>
                  <a:fillRect b="-2222"/>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04" name="テキスト ボックス 103">
                <a:extLst>
                  <a:ext uri="{FF2B5EF4-FFF2-40B4-BE49-F238E27FC236}">
                    <a16:creationId xmlns:a16="http://schemas.microsoft.com/office/drawing/2014/main" id="{5BA40DE0-555A-18B2-6D2E-0577431FA92C}"/>
                  </a:ext>
                </a:extLst>
              </p:cNvPr>
              <p:cNvSpPr txBox="1"/>
              <p:nvPr/>
            </p:nvSpPr>
            <p:spPr>
              <a:xfrm rot="1096496">
                <a:off x="6220389" y="6110032"/>
                <a:ext cx="1302048" cy="215444"/>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ja-JP" sz="800" b="0" i="1" smtClean="0">
                          <a:latin typeface="Cambria Math" panose="02040503050406030204" pitchFamily="18" charset="0"/>
                        </a:rPr>
                        <m:t>𝑃𝑎𝑠𝑠𝑒𝑑</m:t>
                      </m:r>
                      <m:r>
                        <a:rPr lang="en-US" altLang="ja-JP" sz="800" b="0" i="1" smtClean="0">
                          <a:latin typeface="Cambria Math" panose="02040503050406030204" pitchFamily="18" charset="0"/>
                        </a:rPr>
                        <m:t> </m:t>
                      </m:r>
                      <m:r>
                        <a:rPr lang="en-US" altLang="ja-JP" sz="800" b="0" i="1" smtClean="0">
                          <a:latin typeface="Cambria Math" panose="02040503050406030204" pitchFamily="18" charset="0"/>
                        </a:rPr>
                        <m:t>𝑅𝑒𝑝𝑎𝑖𝑟</m:t>
                      </m:r>
                      <m:r>
                        <a:rPr lang="en-US" altLang="ja-JP" sz="800" b="0" i="1" smtClean="0">
                          <a:latin typeface="Cambria Math" panose="02040503050406030204" pitchFamily="18" charset="0"/>
                        </a:rPr>
                        <m:t> </m:t>
                      </m:r>
                      <m:r>
                        <a:rPr lang="en-US" altLang="ja-JP" sz="800" b="0" i="1" smtClean="0">
                          <a:latin typeface="Cambria Math" panose="02040503050406030204" pitchFamily="18" charset="0"/>
                        </a:rPr>
                        <m:t>𝑡𝑖𝑚𝑒</m:t>
                      </m:r>
                      <m:r>
                        <a:rPr lang="en-US" altLang="ja-JP" sz="800" b="0" i="1" smtClean="0">
                          <a:latin typeface="Cambria Math" panose="02040503050406030204" pitchFamily="18" charset="0"/>
                        </a:rPr>
                        <m:t> [</m:t>
                      </m:r>
                      <m:r>
                        <m:rPr>
                          <m:sty m:val="p"/>
                        </m:rPr>
                        <a:rPr lang="en-US" altLang="ja-JP" sz="800" b="0" i="0" smtClean="0">
                          <a:latin typeface="Cambria Math" panose="02040503050406030204" pitchFamily="18" charset="0"/>
                        </a:rPr>
                        <m:t>min</m:t>
                      </m:r>
                      <m:r>
                        <a:rPr lang="en-US" altLang="ja-JP" sz="800" b="0" i="1" smtClean="0">
                          <a:latin typeface="Cambria Math" panose="02040503050406030204" pitchFamily="18" charset="0"/>
                        </a:rPr>
                        <m:t>]</m:t>
                      </m:r>
                    </m:oMath>
                  </m:oMathPara>
                </a14:m>
                <a:endParaRPr lang="ja-JP" altLang="en-US" sz="800"/>
              </a:p>
            </p:txBody>
          </p:sp>
        </mc:Choice>
        <mc:Fallback xmlns="">
          <p:sp>
            <p:nvSpPr>
              <p:cNvPr id="104" name="テキスト ボックス 103">
                <a:extLst>
                  <a:ext uri="{FF2B5EF4-FFF2-40B4-BE49-F238E27FC236}">
                    <a16:creationId xmlns:a16="http://schemas.microsoft.com/office/drawing/2014/main" id="{5BA40DE0-555A-18B2-6D2E-0577431FA92C}"/>
                  </a:ext>
                </a:extLst>
              </p:cNvPr>
              <p:cNvSpPr txBox="1">
                <a:spLocks noRot="1" noChangeAspect="1" noMove="1" noResize="1" noEditPoints="1" noAdjustHandles="1" noChangeArrowheads="1" noChangeShapeType="1" noTextEdit="1"/>
              </p:cNvSpPr>
              <p:nvPr/>
            </p:nvSpPr>
            <p:spPr>
              <a:xfrm rot="1096496">
                <a:off x="6220389" y="6110032"/>
                <a:ext cx="1302048" cy="215444"/>
              </a:xfrm>
              <a:prstGeom prst="rect">
                <a:avLst/>
              </a:prstGeom>
              <a:blipFill>
                <a:blip r:embed="rId16"/>
                <a:stretch>
                  <a:fillRect/>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05" name="テキスト ボックス 104">
                <a:extLst>
                  <a:ext uri="{FF2B5EF4-FFF2-40B4-BE49-F238E27FC236}">
                    <a16:creationId xmlns:a16="http://schemas.microsoft.com/office/drawing/2014/main" id="{9762DA23-CB1A-DAA5-4AC7-FDCC7A68FA9A}"/>
                  </a:ext>
                </a:extLst>
              </p:cNvPr>
              <p:cNvSpPr txBox="1"/>
              <p:nvPr/>
            </p:nvSpPr>
            <p:spPr>
              <a:xfrm rot="20606496">
                <a:off x="7489857" y="6110032"/>
                <a:ext cx="907034" cy="215444"/>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ja-JP" sz="800" b="0" i="1" smtClean="0">
                          <a:latin typeface="Cambria Math" panose="02040503050406030204" pitchFamily="18" charset="0"/>
                        </a:rPr>
                        <m:t>𝑉𝑖𝑠𝑖𝑏𝑖𝑙𝑖𝑡𝑦</m:t>
                      </m:r>
                      <m:r>
                        <a:rPr lang="en-US" altLang="ja-JP" sz="800" b="0" i="1" smtClean="0">
                          <a:latin typeface="Cambria Math" panose="02040503050406030204" pitchFamily="18" charset="0"/>
                        </a:rPr>
                        <m:t>[</m:t>
                      </m:r>
                      <m:r>
                        <m:rPr>
                          <m:sty m:val="p"/>
                        </m:rPr>
                        <a:rPr lang="en-US" altLang="ja-JP" sz="800" i="1">
                          <a:latin typeface="Cambria Math" panose="02040503050406030204" pitchFamily="18" charset="0"/>
                        </a:rPr>
                        <m:t>m</m:t>
                      </m:r>
                      <m:r>
                        <a:rPr lang="en-US" altLang="ja-JP" sz="800" b="0" i="1" smtClean="0">
                          <a:latin typeface="Cambria Math" panose="02040503050406030204" pitchFamily="18" charset="0"/>
                        </a:rPr>
                        <m:t>]</m:t>
                      </m:r>
                    </m:oMath>
                  </m:oMathPara>
                </a14:m>
                <a:endParaRPr lang="ja-JP" altLang="en-US" sz="800"/>
              </a:p>
            </p:txBody>
          </p:sp>
        </mc:Choice>
        <mc:Fallback xmlns="">
          <p:sp>
            <p:nvSpPr>
              <p:cNvPr id="105" name="テキスト ボックス 104">
                <a:extLst>
                  <a:ext uri="{FF2B5EF4-FFF2-40B4-BE49-F238E27FC236}">
                    <a16:creationId xmlns:a16="http://schemas.microsoft.com/office/drawing/2014/main" id="{9762DA23-CB1A-DAA5-4AC7-FDCC7A68FA9A}"/>
                  </a:ext>
                </a:extLst>
              </p:cNvPr>
              <p:cNvSpPr txBox="1">
                <a:spLocks noRot="1" noChangeAspect="1" noMove="1" noResize="1" noEditPoints="1" noAdjustHandles="1" noChangeArrowheads="1" noChangeShapeType="1" noTextEdit="1"/>
              </p:cNvSpPr>
              <p:nvPr/>
            </p:nvSpPr>
            <p:spPr>
              <a:xfrm rot="20606496">
                <a:off x="7489857" y="6110032"/>
                <a:ext cx="907034" cy="215444"/>
              </a:xfrm>
              <a:prstGeom prst="rect">
                <a:avLst/>
              </a:prstGeom>
              <a:blipFill>
                <a:blip r:embed="rId17"/>
                <a:stretch>
                  <a:fillRect/>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106" name="テキスト ボックス 105">
                <a:extLst>
                  <a:ext uri="{FF2B5EF4-FFF2-40B4-BE49-F238E27FC236}">
                    <a16:creationId xmlns:a16="http://schemas.microsoft.com/office/drawing/2014/main" id="{B234ECE1-39A7-1B6B-F688-83D142818F42}"/>
                  </a:ext>
                </a:extLst>
              </p:cNvPr>
              <p:cNvSpPr txBox="1"/>
              <p:nvPr/>
            </p:nvSpPr>
            <p:spPr>
              <a:xfrm rot="16200000">
                <a:off x="5606779" y="5429461"/>
                <a:ext cx="981278" cy="258532"/>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ja-JP" altLang="en-US" sz="800" i="1">
                              <a:latin typeface="Cambria Math" panose="02040503050406030204" pitchFamily="18" charset="0"/>
                            </a:rPr>
                          </m:ctrlPr>
                        </m:sSubSupPr>
                        <m:e>
                          <m:r>
                            <a:rPr lang="ja-JP" altLang="en-US" sz="800" i="1">
                              <a:latin typeface="Cambria Math" panose="02040503050406030204" pitchFamily="18" charset="0"/>
                            </a:rPr>
                            <m:t>𝜇</m:t>
                          </m:r>
                        </m:e>
                        <m:sub>
                          <m:r>
                            <a:rPr lang="ja-JP" altLang="en-US" sz="800" i="1">
                              <a:latin typeface="Cambria Math" panose="02040503050406030204" pitchFamily="18" charset="0"/>
                            </a:rPr>
                            <m:t>𝑖</m:t>
                          </m:r>
                          <m:r>
                            <a:rPr lang="en-US" altLang="ja-JP" sz="800" i="1">
                              <a:latin typeface="Cambria Math" panose="02040503050406030204" pitchFamily="18" charset="0"/>
                            </a:rPr>
                            <m:t>, </m:t>
                          </m:r>
                          <m:r>
                            <a:rPr lang="en-US" altLang="ja-JP" sz="800" i="1">
                              <a:latin typeface="Cambria Math" panose="02040503050406030204" pitchFamily="18" charset="0"/>
                            </a:rPr>
                            <m:t>𝑡𝑎𝑠𝑘</m:t>
                          </m:r>
                          <m:r>
                            <a:rPr lang="en-US" altLang="ja-JP" sz="800" i="1">
                              <a:latin typeface="Cambria Math" panose="02040503050406030204" pitchFamily="18" charset="0"/>
                            </a:rPr>
                            <m:t>1</m:t>
                          </m:r>
                        </m:sub>
                        <m:sup>
                          <m:r>
                            <a:rPr lang="en-US" altLang="ja-JP" sz="800" i="1">
                              <a:latin typeface="Cambria Math" panose="02040503050406030204" pitchFamily="18" charset="0"/>
                            </a:rPr>
                            <m:t>(</m:t>
                          </m:r>
                          <m:r>
                            <a:rPr lang="en-US" altLang="ja-JP" sz="800" i="1">
                              <a:latin typeface="Cambria Math" panose="02040503050406030204" pitchFamily="18" charset="0"/>
                            </a:rPr>
                            <m:t>𝑛</m:t>
                          </m:r>
                          <m:r>
                            <a:rPr lang="en-US" altLang="ja-JP" sz="800" i="1">
                              <a:latin typeface="Cambria Math" panose="02040503050406030204" pitchFamily="18" charset="0"/>
                            </a:rPr>
                            <m:t>)</m:t>
                          </m:r>
                        </m:sup>
                      </m:sSubSup>
                      <m:r>
                        <a:rPr lang="en-US" altLang="ja-JP" sz="800" b="0" i="1" smtClean="0">
                          <a:latin typeface="Cambria Math" panose="02040503050406030204" pitchFamily="18" charset="0"/>
                        </a:rPr>
                        <m:t>[</m:t>
                      </m:r>
                      <m:r>
                        <a:rPr lang="en-US" altLang="ja-JP" sz="800" b="0" i="0" smtClean="0">
                          <a:latin typeface="Cambria Math" panose="02040503050406030204" pitchFamily="18" charset="0"/>
                        </a:rPr>
                        <m:t>1/</m:t>
                      </m:r>
                      <m:r>
                        <m:rPr>
                          <m:sty m:val="p"/>
                        </m:rPr>
                        <a:rPr lang="en-US" altLang="ja-JP" sz="800" b="0" i="0" smtClean="0">
                          <a:latin typeface="Cambria Math" panose="02040503050406030204" pitchFamily="18" charset="0"/>
                        </a:rPr>
                        <m:t>min</m:t>
                      </m:r>
                      <m:r>
                        <a:rPr lang="en-US" altLang="ja-JP" sz="800" b="0" i="1" smtClean="0">
                          <a:latin typeface="Cambria Math" panose="02040503050406030204" pitchFamily="18" charset="0"/>
                        </a:rPr>
                        <m:t>]</m:t>
                      </m:r>
                    </m:oMath>
                  </m:oMathPara>
                </a14:m>
                <a:endParaRPr lang="ja-JP" altLang="en-US" sz="800"/>
              </a:p>
            </p:txBody>
          </p:sp>
        </mc:Choice>
        <mc:Fallback xmlns="">
          <p:sp>
            <p:nvSpPr>
              <p:cNvPr id="106" name="テキスト ボックス 105">
                <a:extLst>
                  <a:ext uri="{FF2B5EF4-FFF2-40B4-BE49-F238E27FC236}">
                    <a16:creationId xmlns:a16="http://schemas.microsoft.com/office/drawing/2014/main" id="{B234ECE1-39A7-1B6B-F688-83D142818F42}"/>
                  </a:ext>
                </a:extLst>
              </p:cNvPr>
              <p:cNvSpPr txBox="1">
                <a:spLocks noRot="1" noChangeAspect="1" noMove="1" noResize="1" noEditPoints="1" noAdjustHandles="1" noChangeArrowheads="1" noChangeShapeType="1" noTextEdit="1"/>
              </p:cNvSpPr>
              <p:nvPr/>
            </p:nvSpPr>
            <p:spPr>
              <a:xfrm rot="16200000">
                <a:off x="5606779" y="5429461"/>
                <a:ext cx="981278" cy="258532"/>
              </a:xfrm>
              <a:prstGeom prst="rect">
                <a:avLst/>
              </a:prstGeom>
              <a:blipFill>
                <a:blip r:embed="rId18"/>
                <a:stretch>
                  <a:fillRect/>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740831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54935-F4C7-DF3B-91ED-7C6FCCFFA6D2}"/>
            </a:ext>
          </a:extLst>
        </p:cNvPr>
        <p:cNvGrpSpPr/>
        <p:nvPr/>
      </p:nvGrpSpPr>
      <p:grpSpPr>
        <a:xfrm>
          <a:off x="0" y="0"/>
          <a:ext cx="0" cy="0"/>
          <a:chOff x="0" y="0"/>
          <a:chExt cx="0" cy="0"/>
        </a:xfrm>
      </p:grpSpPr>
      <p:sp>
        <p:nvSpPr>
          <p:cNvPr id="8" name="タイトル 7">
            <a:extLst>
              <a:ext uri="{FF2B5EF4-FFF2-40B4-BE49-F238E27FC236}">
                <a16:creationId xmlns:a16="http://schemas.microsoft.com/office/drawing/2014/main" id="{3F20A936-5857-65BB-EDAA-8B148F8E4293}"/>
              </a:ext>
            </a:extLst>
          </p:cNvPr>
          <p:cNvSpPr>
            <a:spLocks noGrp="1"/>
          </p:cNvSpPr>
          <p:nvPr>
            <p:ph type="title"/>
          </p:nvPr>
        </p:nvSpPr>
        <p:spPr/>
        <p:txBody>
          <a:bodyPr/>
          <a:lstStyle/>
          <a:p>
            <a:r>
              <a:rPr lang="en-US" altLang="ja-JP" dirty="0"/>
              <a:t>Summary</a:t>
            </a:r>
            <a:endParaRPr lang="ja-JP" altLang="en-US" sz="2100"/>
          </a:p>
        </p:txBody>
      </p:sp>
      <mc:AlternateContent xmlns:mc="http://schemas.openxmlformats.org/markup-compatibility/2006">
        <mc:Choice xmlns:a14="http://schemas.microsoft.com/office/drawing/2010/main" Requires="a14">
          <p:sp>
            <p:nvSpPr>
              <p:cNvPr id="199" name="コンテンツ プレースホルダー 10">
                <a:extLst>
                  <a:ext uri="{FF2B5EF4-FFF2-40B4-BE49-F238E27FC236}">
                    <a16:creationId xmlns:a16="http://schemas.microsoft.com/office/drawing/2014/main" id="{F91951FC-901D-4D12-D51F-34A68F664816}"/>
                  </a:ext>
                </a:extLst>
              </p:cNvPr>
              <p:cNvSpPr txBox="1">
                <a:spLocks/>
              </p:cNvSpPr>
              <p:nvPr/>
            </p:nvSpPr>
            <p:spPr>
              <a:xfrm>
                <a:off x="374499" y="1273637"/>
                <a:ext cx="8395015" cy="4963676"/>
              </a:xfrm>
              <a:prstGeom prst="rect">
                <a:avLst/>
              </a:prstGeom>
              <a:noFill/>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r>
                  <a:rPr lang="en-US" altLang="zh-TW" sz="1800" b="1" dirty="0"/>
                  <a:t>Proposed Co-CMMC Method:</a:t>
                </a:r>
              </a:p>
              <a:p>
                <a:pPr lvl="1"/>
                <a:r>
                  <a:rPr lang="ja-JP" altLang="ja-JP"/>
                  <a:t>Retains</a:t>
                </a:r>
                <a:r>
                  <a:rPr lang="en-US" altLang="ja-JP" dirty="0"/>
                  <a:t> </a:t>
                </a:r>
                <a:r>
                  <a:rPr lang="en-US" altLang="ja-JP" b="1" dirty="0"/>
                  <a:t>CMMC’s</a:t>
                </a:r>
                <a:r>
                  <a:rPr lang="en-US" altLang="ja-JP" dirty="0"/>
                  <a:t> </a:t>
                </a:r>
                <a14:m>
                  <m:oMath xmlns:m="http://schemas.openxmlformats.org/officeDocument/2006/math">
                    <m:r>
                      <m:rPr>
                        <m:sty m:val="p"/>
                      </m:rPr>
                      <a:rPr lang="en-US" altLang="ja-JP" u="sng">
                        <a:latin typeface="Cambria Math" panose="02040503050406030204" pitchFamily="18" charset="0"/>
                      </a:rPr>
                      <m:t>Δ</m:t>
                    </m:r>
                    <m:r>
                      <a:rPr lang="ja-JP" altLang="en-US" i="1" u="sng">
                        <a:latin typeface="Cambria Math" panose="02040503050406030204" pitchFamily="18" charset="0"/>
                      </a:rPr>
                      <m:t>𝑡</m:t>
                    </m:r>
                  </m:oMath>
                </a14:m>
                <a:r>
                  <a:rPr lang="ja-JP" altLang="ja-JP" u="sng"/>
                  <a:t>-based sampling</a:t>
                </a:r>
                <a:r>
                  <a:rPr lang="en-US" altLang="ja-JP" dirty="0"/>
                  <a:t>; enabling continuous response to changing conditions at </a:t>
                </a:r>
                <a:r>
                  <a:rPr lang="en-US" altLang="ja-JP" dirty="0">
                    <a:highlight>
                      <a:srgbClr val="FFFF00"/>
                    </a:highlight>
                  </a:rPr>
                  <a:t>high temporal resolution</a:t>
                </a:r>
                <a:r>
                  <a:rPr lang="en-US" altLang="ja-JP" dirty="0"/>
                  <a:t>.</a:t>
                </a:r>
              </a:p>
              <a:p>
                <a:pPr lvl="1"/>
                <a:r>
                  <a:rPr lang="en" altLang="ja-JP" dirty="0"/>
                  <a:t>Introduces </a:t>
                </a:r>
                <a:r>
                  <a:rPr lang="en" altLang="ja-JP" b="1" dirty="0"/>
                  <a:t>Joint Markov States</a:t>
                </a:r>
                <a:r>
                  <a:rPr lang="en" altLang="ja-JP" dirty="0"/>
                  <a:t> to represent machine and repair-task states in a Markov state unit, distinguishing </a:t>
                </a:r>
                <a:r>
                  <a:rPr lang="en" altLang="ja-JP" u="sng" dirty="0">
                    <a:highlight>
                      <a:srgbClr val="FFFF00"/>
                    </a:highlight>
                  </a:rPr>
                  <a:t>ongoing repair </a:t>
                </a:r>
                <a:r>
                  <a:rPr lang="en" altLang="ja-JP" dirty="0"/>
                  <a:t>from the competing outcomes of </a:t>
                </a:r>
                <a:r>
                  <a:rPr lang="en" altLang="ja-JP" u="sng" dirty="0">
                    <a:highlight>
                      <a:srgbClr val="FFFF00"/>
                    </a:highlight>
                  </a:rPr>
                  <a:t>successful</a:t>
                </a:r>
                <a:r>
                  <a:rPr lang="en" altLang="ja-JP" dirty="0"/>
                  <a:t> and </a:t>
                </a:r>
                <a:r>
                  <a:rPr lang="en" altLang="ja-JP" u="sng" dirty="0">
                    <a:highlight>
                      <a:srgbClr val="FFFF00"/>
                    </a:highlight>
                  </a:rPr>
                  <a:t>failed completion</a:t>
                </a:r>
                <a:r>
                  <a:rPr lang="en" altLang="ja-JP" u="sng" dirty="0"/>
                  <a:t>,</a:t>
                </a:r>
                <a:r>
                  <a:rPr lang="en" altLang="ja-JP" dirty="0"/>
                  <a:t> making it available to collect data for Dynamic HRA.</a:t>
                </a:r>
              </a:p>
              <a:p>
                <a:r>
                  <a:rPr lang="en-US" altLang="zh-TW" sz="1800" b="1" dirty="0"/>
                  <a:t>Dynamic HRA Framework:</a:t>
                </a:r>
              </a:p>
              <a:p>
                <a:pPr lvl="1"/>
                <a:r>
                  <a:rPr lang="ja-JP" altLang="ja-JP"/>
                  <a:t>Embeds Co-CMMC in a four-module framework that </a:t>
                </a:r>
                <a:r>
                  <a:rPr lang="ja-JP" altLang="ja-JP">
                    <a:highlight>
                      <a:srgbClr val="FFFF00"/>
                    </a:highlight>
                  </a:rPr>
                  <a:t>closes the feedback loop among human actions, machine states, and the evolving working environment.</a:t>
                </a:r>
                <a:endParaRPr lang="en-US" altLang="ja-JP" dirty="0">
                  <a:highlight>
                    <a:srgbClr val="FFFF00"/>
                  </a:highlight>
                </a:endParaRPr>
              </a:p>
              <a:p>
                <a:r>
                  <a:rPr lang="ja-JP" altLang="ja-JP" sz="1800" b="1"/>
                  <a:t>Preliminary Scenario Test</a:t>
                </a:r>
                <a:r>
                  <a:rPr lang="en-US" altLang="zh-TW" sz="1800" b="1" dirty="0"/>
                  <a:t>:</a:t>
                </a:r>
              </a:p>
              <a:p>
                <a:pPr lvl="1"/>
                <a:r>
                  <a:rPr lang="en-US" altLang="ja-JP" dirty="0"/>
                  <a:t>Illustrated through a volcanic-ash filter-replacement scenario.</a:t>
                </a:r>
              </a:p>
              <a:p>
                <a:pPr lvl="1"/>
                <a:r>
                  <a:rPr lang="ja-JP" altLang="ja-JP"/>
                  <a:t>Provides examples of </a:t>
                </a:r>
                <a:r>
                  <a:rPr lang="ja-JP" altLang="ja-JP">
                    <a:highlight>
                      <a:srgbClr val="FFFF00"/>
                    </a:highlight>
                  </a:rPr>
                  <a:t>scenario-specific adaptation </a:t>
                </a:r>
                <a:r>
                  <a:rPr lang="ja-JP" altLang="ja-JP"/>
                  <a:t>for</a:t>
                </a:r>
                <a:r>
                  <a:rPr lang="en-US" altLang="ja-JP" dirty="0"/>
                  <a:t>:</a:t>
                </a:r>
                <a:r>
                  <a:rPr lang="en-US" altLang="ja-JP" b="1" dirty="0">
                    <a:solidFill>
                      <a:srgbClr val="C00000"/>
                    </a:solidFill>
                  </a:rPr>
                  <a:t> </a:t>
                </a:r>
                <a:r>
                  <a:rPr lang="en-US" altLang="ja-JP" dirty="0"/>
                  <a:t>(1)Markov chain structure; (2) Dynamic model of the target working environment ; (3) Environmental-variable dependencies of </a:t>
                </a:r>
                <a:r>
                  <a:rPr lang="el-GR" altLang="ja-JP" i="1" dirty="0"/>
                  <a:t>μ</a:t>
                </a:r>
                <a:r>
                  <a:rPr lang="el-GR" altLang="ja-JP" dirty="0"/>
                  <a:t> </a:t>
                </a:r>
                <a:r>
                  <a:rPr lang="en-US" altLang="ja-JP" dirty="0"/>
                  <a:t>and HEP</a:t>
                </a:r>
                <a:endParaRPr lang="en-US" altLang="zh-TW" sz="2200" dirty="0"/>
              </a:p>
              <a:p>
                <a:r>
                  <a:rPr lang="en-US" altLang="ja-JP" sz="1800" b="1" dirty="0"/>
                  <a:t>Future work: </a:t>
                </a:r>
              </a:p>
              <a:p>
                <a:pPr lvl="1"/>
                <a:r>
                  <a:rPr lang="en" altLang="ja-JP" dirty="0"/>
                  <a:t>Implement the framework in computational code and conduct numerical analysis, parameter calibration, sensitivity analysis, and model validation.</a:t>
                </a:r>
                <a:endParaRPr lang="en-US" altLang="ja-JP" sz="1800" b="1" dirty="0">
                  <a:highlight>
                    <a:srgbClr val="FFFF00"/>
                  </a:highlight>
                </a:endParaRPr>
              </a:p>
              <a:p>
                <a:pPr lvl="1"/>
                <a:endParaRPr lang="en-US" altLang="ja-JP" sz="1800" b="1" dirty="0">
                  <a:highlight>
                    <a:srgbClr val="FFFF00"/>
                  </a:highlight>
                </a:endParaRPr>
              </a:p>
              <a:p>
                <a:pPr lvl="1"/>
                <a:endParaRPr lang="en-US" altLang="ja-JP" sz="1800" b="1" dirty="0">
                  <a:highlight>
                    <a:srgbClr val="FFFF00"/>
                  </a:highlight>
                </a:endParaRPr>
              </a:p>
              <a:p>
                <a:pPr lvl="1"/>
                <a:endParaRPr lang="en-US" altLang="zh-TW" sz="2200" dirty="0"/>
              </a:p>
              <a:p>
                <a:pPr lvl="1"/>
                <a:endParaRPr lang="en-US" altLang="zh-TW" sz="1800" dirty="0"/>
              </a:p>
              <a:p>
                <a:pPr lvl="1"/>
                <a:endParaRPr lang="en-US" altLang="ja-JP" b="1" dirty="0"/>
              </a:p>
              <a:p>
                <a:pPr lvl="1"/>
                <a:endParaRPr lang="en-US" altLang="zh-TW" dirty="0"/>
              </a:p>
              <a:p>
                <a:pPr lvl="1"/>
                <a:endParaRPr lang="en-US" altLang="ja-JP" dirty="0"/>
              </a:p>
              <a:p>
                <a:pPr lvl="1"/>
                <a:endParaRPr lang="ja-JP" altLang="en-US" dirty="0"/>
              </a:p>
            </p:txBody>
          </p:sp>
        </mc:Choice>
        <mc:Fallback>
          <p:sp>
            <p:nvSpPr>
              <p:cNvPr id="199" name="コンテンツ プレースホルダー 10">
                <a:extLst>
                  <a:ext uri="{FF2B5EF4-FFF2-40B4-BE49-F238E27FC236}">
                    <a16:creationId xmlns:a16="http://schemas.microsoft.com/office/drawing/2014/main" id="{F91951FC-901D-4D12-D51F-34A68F664816}"/>
                  </a:ext>
                </a:extLst>
              </p:cNvPr>
              <p:cNvSpPr txBox="1">
                <a:spLocks noRot="1" noChangeAspect="1" noMove="1" noResize="1" noEditPoints="1" noAdjustHandles="1" noChangeArrowheads="1" noChangeShapeType="1" noTextEdit="1"/>
              </p:cNvSpPr>
              <p:nvPr/>
            </p:nvSpPr>
            <p:spPr>
              <a:xfrm>
                <a:off x="374499" y="1273637"/>
                <a:ext cx="8395015" cy="4963676"/>
              </a:xfrm>
              <a:prstGeom prst="rect">
                <a:avLst/>
              </a:prstGeom>
              <a:blipFill>
                <a:blip r:embed="rId3"/>
                <a:stretch>
                  <a:fillRect l="-453" t="-765" r="-453"/>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2281842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10B26-22A6-6ACA-FE55-80365A156A0E}"/>
            </a:ext>
          </a:extLst>
        </p:cNvPr>
        <p:cNvGrpSpPr/>
        <p:nvPr/>
      </p:nvGrpSpPr>
      <p:grpSpPr>
        <a:xfrm>
          <a:off x="0" y="0"/>
          <a:ext cx="0" cy="0"/>
          <a:chOff x="0" y="0"/>
          <a:chExt cx="0" cy="0"/>
        </a:xfrm>
      </p:grpSpPr>
      <p:sp>
        <p:nvSpPr>
          <p:cNvPr id="10" name="タイトル 9">
            <a:extLst>
              <a:ext uri="{FF2B5EF4-FFF2-40B4-BE49-F238E27FC236}">
                <a16:creationId xmlns:a16="http://schemas.microsoft.com/office/drawing/2014/main" id="{B0C80A5C-AE31-D8E4-9446-016260C0AA48}"/>
              </a:ext>
            </a:extLst>
          </p:cNvPr>
          <p:cNvSpPr>
            <a:spLocks noGrp="1"/>
          </p:cNvSpPr>
          <p:nvPr>
            <p:ph type="title"/>
          </p:nvPr>
        </p:nvSpPr>
        <p:spPr/>
        <p:txBody>
          <a:bodyPr/>
          <a:lstStyle/>
          <a:p>
            <a:pPr algn="l"/>
            <a:r>
              <a:rPr lang="en-US" altLang="ja-JP" dirty="0"/>
              <a:t>Outline</a:t>
            </a:r>
            <a:endParaRPr lang="ja-JP" altLang="en-US" dirty="0"/>
          </a:p>
        </p:txBody>
      </p:sp>
      <p:sp>
        <p:nvSpPr>
          <p:cNvPr id="12" name="テキスト プレースホルダー 11">
            <a:extLst>
              <a:ext uri="{FF2B5EF4-FFF2-40B4-BE49-F238E27FC236}">
                <a16:creationId xmlns:a16="http://schemas.microsoft.com/office/drawing/2014/main" id="{327CC48E-2AE7-3034-12DD-0BFDD43905B8}"/>
              </a:ext>
            </a:extLst>
          </p:cNvPr>
          <p:cNvSpPr>
            <a:spLocks noGrp="1"/>
          </p:cNvSpPr>
          <p:nvPr>
            <p:ph type="body" sz="quarter" idx="14"/>
          </p:nvPr>
        </p:nvSpPr>
        <p:spPr>
          <a:xfrm>
            <a:off x="374499" y="1340769"/>
            <a:ext cx="8395015" cy="4824536"/>
          </a:xfrm>
        </p:spPr>
        <p:txBody>
          <a:bodyPr/>
          <a:lstStyle/>
          <a:p>
            <a:r>
              <a:rPr lang="en-US" altLang="ja-JP" sz="2000" b="1" dirty="0">
                <a:solidFill>
                  <a:srgbClr val="C00000"/>
                </a:solidFill>
              </a:rPr>
              <a:t>Introduction</a:t>
            </a:r>
          </a:p>
          <a:p>
            <a:endParaRPr lang="en-US" altLang="ja-JP" sz="2000" dirty="0"/>
          </a:p>
          <a:p>
            <a:r>
              <a:rPr lang="en-US" altLang="ja-JP" sz="2000" dirty="0">
                <a:solidFill>
                  <a:schemeClr val="bg1">
                    <a:lumMod val="50000"/>
                  </a:schemeClr>
                </a:solidFill>
              </a:rPr>
              <a:t>Methodology</a:t>
            </a:r>
          </a:p>
          <a:p>
            <a:endParaRPr lang="en-US" altLang="ja-JP" sz="2000" dirty="0">
              <a:solidFill>
                <a:schemeClr val="bg1">
                  <a:lumMod val="50000"/>
                </a:schemeClr>
              </a:solidFill>
            </a:endParaRPr>
          </a:p>
          <a:p>
            <a:r>
              <a:rPr lang="en-US" altLang="ja-JP" sz="2000" dirty="0">
                <a:solidFill>
                  <a:schemeClr val="bg1">
                    <a:lumMod val="50000"/>
                  </a:schemeClr>
                </a:solidFill>
              </a:rPr>
              <a:t>Test Scenario</a:t>
            </a:r>
          </a:p>
          <a:p>
            <a:endParaRPr lang="en-US" altLang="ja-JP" sz="2000" dirty="0">
              <a:solidFill>
                <a:schemeClr val="bg1">
                  <a:lumMod val="50000"/>
                </a:schemeClr>
              </a:solidFill>
            </a:endParaRPr>
          </a:p>
          <a:p>
            <a:r>
              <a:rPr lang="en-US" altLang="ja-JP" sz="2000" dirty="0">
                <a:solidFill>
                  <a:schemeClr val="bg1">
                    <a:lumMod val="50000"/>
                  </a:schemeClr>
                </a:solidFill>
              </a:rPr>
              <a:t>Scenario-Specific Adaptation</a:t>
            </a:r>
          </a:p>
          <a:p>
            <a:pPr marL="0" indent="0">
              <a:buNone/>
            </a:pPr>
            <a:endParaRPr lang="en-US" altLang="ja-JP" sz="2000" dirty="0">
              <a:solidFill>
                <a:schemeClr val="bg1">
                  <a:lumMod val="50000"/>
                </a:schemeClr>
              </a:solidFill>
            </a:endParaRPr>
          </a:p>
          <a:p>
            <a:r>
              <a:rPr lang="en-US" altLang="ja-JP" sz="2000" dirty="0">
                <a:solidFill>
                  <a:schemeClr val="bg1">
                    <a:lumMod val="50000"/>
                  </a:schemeClr>
                </a:solidFill>
              </a:rPr>
              <a:t>Summary</a:t>
            </a:r>
          </a:p>
          <a:p>
            <a:endParaRPr lang="en-US" altLang="ja-JP" sz="2000" dirty="0"/>
          </a:p>
          <a:p>
            <a:endParaRPr lang="en-US" altLang="ja-JP" sz="2000" dirty="0"/>
          </a:p>
          <a:p>
            <a:pPr lvl="1"/>
            <a:endParaRPr lang="ja-JP" altLang="en-US" sz="2000" dirty="0"/>
          </a:p>
        </p:txBody>
      </p:sp>
    </p:spTree>
    <p:extLst>
      <p:ext uri="{BB962C8B-B14F-4D97-AF65-F5344CB8AC3E}">
        <p14:creationId xmlns:p14="http://schemas.microsoft.com/office/powerpoint/2010/main" val="7929539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69C4C-F2A4-CEF6-9BD8-97E0BAC397DB}"/>
            </a:ext>
          </a:extLst>
        </p:cNvPr>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2245245-4F4D-9C07-CADA-AD61F43EDA2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3" imgW="210" imgH="209" progId="TCLayout.ActiveDocument.1">
                  <p:embed/>
                </p:oleObj>
              </mc:Choice>
              <mc:Fallback>
                <p:oleObj name="think-cell スライド" r:id="rId3" imgW="210" imgH="209" progId="TCLayout.ActiveDocument.1">
                  <p:embed/>
                  <p:pic>
                    <p:nvPicPr>
                      <p:cNvPr id="2" name="オブジェクト 1" hidden="1">
                        <a:extLst>
                          <a:ext uri="{FF2B5EF4-FFF2-40B4-BE49-F238E27FC236}">
                            <a16:creationId xmlns:a16="http://schemas.microsoft.com/office/drawing/2014/main" id="{82245245-4F4D-9C07-CADA-AD61F43EDA2F}"/>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5" name="角丸四角形 14">
            <a:extLst>
              <a:ext uri="{FF2B5EF4-FFF2-40B4-BE49-F238E27FC236}">
                <a16:creationId xmlns:a16="http://schemas.microsoft.com/office/drawing/2014/main" id="{ADCAF7B5-0CBC-095E-1273-DE67B16AA58A}"/>
              </a:ext>
            </a:extLst>
          </p:cNvPr>
          <p:cNvSpPr/>
          <p:nvPr/>
        </p:nvSpPr>
        <p:spPr>
          <a:xfrm>
            <a:off x="1907704" y="4221088"/>
            <a:ext cx="6048672" cy="57606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角丸四角形 15">
            <a:extLst>
              <a:ext uri="{FF2B5EF4-FFF2-40B4-BE49-F238E27FC236}">
                <a16:creationId xmlns:a16="http://schemas.microsoft.com/office/drawing/2014/main" id="{4AD40CA0-F134-84AA-F7B5-EBCD76E2C7D4}"/>
              </a:ext>
            </a:extLst>
          </p:cNvPr>
          <p:cNvSpPr/>
          <p:nvPr/>
        </p:nvSpPr>
        <p:spPr>
          <a:xfrm>
            <a:off x="0" y="2275000"/>
            <a:ext cx="8676456" cy="57606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プレースホルダー 5">
            <a:extLst>
              <a:ext uri="{FF2B5EF4-FFF2-40B4-BE49-F238E27FC236}">
                <a16:creationId xmlns:a16="http://schemas.microsoft.com/office/drawing/2014/main" id="{5CF8ABDB-517D-5F46-9FCE-C0DC214234EE}"/>
              </a:ext>
            </a:extLst>
          </p:cNvPr>
          <p:cNvSpPr>
            <a:spLocks noGrp="1"/>
          </p:cNvSpPr>
          <p:nvPr>
            <p:ph type="body" idx="14"/>
          </p:nvPr>
        </p:nvSpPr>
        <p:spPr>
          <a:xfrm>
            <a:off x="2605387" y="3240960"/>
            <a:ext cx="6336704" cy="196744"/>
          </a:xfrm>
        </p:spPr>
        <p:txBody>
          <a:bodyPr/>
          <a:lstStyle/>
          <a:p>
            <a:r>
              <a:rPr lang="en-US" altLang="zh-TW" sz="3500" dirty="0"/>
              <a:t>Thank you for your attention</a:t>
            </a:r>
            <a:endParaRPr lang="ja-JP" altLang="en-US" sz="3500" dirty="0"/>
          </a:p>
        </p:txBody>
      </p:sp>
      <p:cxnSp>
        <p:nvCxnSpPr>
          <p:cNvPr id="17" name="直線コネクタ 16">
            <a:extLst>
              <a:ext uri="{FF2B5EF4-FFF2-40B4-BE49-F238E27FC236}">
                <a16:creationId xmlns:a16="http://schemas.microsoft.com/office/drawing/2014/main" id="{2A0AB95B-115D-ECE0-119B-BED0A53D3C25}"/>
              </a:ext>
            </a:extLst>
          </p:cNvPr>
          <p:cNvCxnSpPr>
            <a:cxnSpLocks/>
          </p:cNvCxnSpPr>
          <p:nvPr/>
        </p:nvCxnSpPr>
        <p:spPr>
          <a:xfrm>
            <a:off x="611560" y="3789040"/>
            <a:ext cx="813690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 name="図 3">
            <a:extLst>
              <a:ext uri="{FF2B5EF4-FFF2-40B4-BE49-F238E27FC236}">
                <a16:creationId xmlns:a16="http://schemas.microsoft.com/office/drawing/2014/main" id="{3AD11E46-17B8-1396-3DD2-E9AB19603AF2}"/>
              </a:ext>
            </a:extLst>
          </p:cNvPr>
          <p:cNvPicPr>
            <a:picLocks noChangeAspect="1"/>
          </p:cNvPicPr>
          <p:nvPr/>
        </p:nvPicPr>
        <p:blipFill>
          <a:blip r:embed="rId5"/>
          <a:srcRect l="14911" r="19299"/>
          <a:stretch>
            <a:fillRect/>
          </a:stretch>
        </p:blipFill>
        <p:spPr>
          <a:xfrm>
            <a:off x="7236296" y="5922655"/>
            <a:ext cx="1800200" cy="865908"/>
          </a:xfrm>
          <a:prstGeom prst="rect">
            <a:avLst/>
          </a:prstGeom>
        </p:spPr>
      </p:pic>
    </p:spTree>
    <p:extLst>
      <p:ext uri="{BB962C8B-B14F-4D97-AF65-F5344CB8AC3E}">
        <p14:creationId xmlns:p14="http://schemas.microsoft.com/office/powerpoint/2010/main" val="1923503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E0BEB85-E166-8903-6F2D-1834271BA0A1}"/>
              </a:ext>
            </a:extLst>
          </p:cNvPr>
          <p:cNvSpPr>
            <a:spLocks noGrp="1"/>
          </p:cNvSpPr>
          <p:nvPr>
            <p:ph type="title"/>
          </p:nvPr>
        </p:nvSpPr>
        <p:spPr/>
        <p:txBody>
          <a:bodyPr/>
          <a:lstStyle/>
          <a:p>
            <a:pPr algn="l"/>
            <a:r>
              <a:rPr lang="en-US" altLang="ja-JP" dirty="0"/>
              <a:t>Introduction</a:t>
            </a:r>
            <a:endParaRPr kumimoji="1" lang="ja-JP" altLang="en-US" dirty="0"/>
          </a:p>
        </p:txBody>
      </p:sp>
      <p:pic>
        <p:nvPicPr>
          <p:cNvPr id="11" name="図 10">
            <a:extLst>
              <a:ext uri="{FF2B5EF4-FFF2-40B4-BE49-F238E27FC236}">
                <a16:creationId xmlns:a16="http://schemas.microsoft.com/office/drawing/2014/main" id="{20F0A8E0-8E4A-3BA5-7786-EFF0549E3D0B}"/>
              </a:ext>
            </a:extLst>
          </p:cNvPr>
          <p:cNvPicPr>
            <a:picLocks noChangeAspect="1"/>
          </p:cNvPicPr>
          <p:nvPr/>
        </p:nvPicPr>
        <p:blipFill>
          <a:blip r:embed="rId3"/>
          <a:srcRect l="52111" t="25098" b="30790"/>
          <a:stretch>
            <a:fillRect/>
          </a:stretch>
        </p:blipFill>
        <p:spPr>
          <a:xfrm>
            <a:off x="1180069" y="5249322"/>
            <a:ext cx="2298971" cy="1199848"/>
          </a:xfrm>
          <a:prstGeom prst="rect">
            <a:avLst/>
          </a:prstGeom>
        </p:spPr>
      </p:pic>
      <p:sp>
        <p:nvSpPr>
          <p:cNvPr id="14" name="コンテンツ プレースホルダー 4">
            <a:extLst>
              <a:ext uri="{FF2B5EF4-FFF2-40B4-BE49-F238E27FC236}">
                <a16:creationId xmlns:a16="http://schemas.microsoft.com/office/drawing/2014/main" id="{E0B3AD04-9129-7F36-17E3-C917A7B7E503}"/>
              </a:ext>
            </a:extLst>
          </p:cNvPr>
          <p:cNvSpPr>
            <a:spLocks noGrp="1"/>
          </p:cNvSpPr>
          <p:nvPr>
            <p:ph idx="1"/>
          </p:nvPr>
        </p:nvSpPr>
        <p:spPr>
          <a:xfrm>
            <a:off x="234340" y="1199667"/>
            <a:ext cx="8675320" cy="1961449"/>
          </a:xfrm>
        </p:spPr>
        <p:txBody>
          <a:bodyPr/>
          <a:lstStyle/>
          <a:p>
            <a:r>
              <a:rPr lang="en-US" altLang="ja-JP" b="1" dirty="0"/>
              <a:t>Conventional HRA: </a:t>
            </a:r>
            <a:r>
              <a:rPr lang="en-US" altLang="ja-JP" dirty="0"/>
              <a:t>Relies on predefined, static scenario</a:t>
            </a:r>
            <a:endParaRPr lang="en-US" altLang="ja-JP" b="1" dirty="0"/>
          </a:p>
          <a:p>
            <a:r>
              <a:rPr lang="en-US" altLang="ja-JP" b="1" dirty="0"/>
              <a:t>Real-world</a:t>
            </a:r>
            <a:r>
              <a:rPr lang="zh-TW" altLang="en-US" b="1" dirty="0"/>
              <a:t> </a:t>
            </a:r>
            <a:r>
              <a:rPr lang="en-US" altLang="zh-TW" b="1" dirty="0"/>
              <a:t>accident</a:t>
            </a:r>
            <a:r>
              <a:rPr lang="en-US" altLang="ja-JP" b="1" dirty="0"/>
              <a:t>:</a:t>
            </a:r>
            <a:r>
              <a:rPr lang="en-US" altLang="ja-JP" dirty="0"/>
              <a:t> Time-varying; therefore, requires to continuously tracking the human-machine-environment interaction</a:t>
            </a:r>
          </a:p>
          <a:p>
            <a:pPr marL="0" indent="0" algn="ctr">
              <a:buNone/>
            </a:pPr>
            <a:endParaRPr lang="en-US" altLang="ja-JP" sz="2000" dirty="0"/>
          </a:p>
          <a:p>
            <a:pPr marL="0" indent="0" algn="ctr">
              <a:buNone/>
            </a:pPr>
            <a:r>
              <a:rPr lang="en-US" altLang="ja-JP" sz="1800" b="1" u="sng" dirty="0"/>
              <a:t>Objective</a:t>
            </a:r>
            <a:r>
              <a:rPr lang="en-US" altLang="ja-JP" sz="1800" b="1" dirty="0"/>
              <a:t>:</a:t>
            </a:r>
            <a:r>
              <a:rPr lang="en-US" altLang="ja-JP" sz="1800" dirty="0"/>
              <a:t>  T</a:t>
            </a:r>
            <a:r>
              <a:rPr lang="ja-JP" altLang="ja-JP" sz="1800" dirty="0"/>
              <a:t>o develop a computational framework that captures the dynamic interactions among humans, machines, and the environment over time.</a:t>
            </a:r>
            <a:endParaRPr lang="en-US" altLang="ja-JP" dirty="0">
              <a:highlight>
                <a:srgbClr val="FFFF00"/>
              </a:highlight>
            </a:endParaRPr>
          </a:p>
          <a:p>
            <a:pPr lvl="1"/>
            <a:endParaRPr lang="ja-JP" altLang="en-US" dirty="0"/>
          </a:p>
          <a:p>
            <a:endParaRPr kumimoji="1" lang="ja-JP" altLang="en-US" dirty="0"/>
          </a:p>
        </p:txBody>
      </p:sp>
      <p:pic>
        <p:nvPicPr>
          <p:cNvPr id="16" name="図 15">
            <a:extLst>
              <a:ext uri="{FF2B5EF4-FFF2-40B4-BE49-F238E27FC236}">
                <a16:creationId xmlns:a16="http://schemas.microsoft.com/office/drawing/2014/main" id="{6F6A9BD8-CCD4-9075-2690-FC98562265A5}"/>
              </a:ext>
            </a:extLst>
          </p:cNvPr>
          <p:cNvPicPr>
            <a:picLocks noChangeAspect="1"/>
          </p:cNvPicPr>
          <p:nvPr/>
        </p:nvPicPr>
        <p:blipFill>
          <a:blip r:embed="rId4"/>
          <a:srcRect l="1268" t="34082" r="52389" b="24024"/>
          <a:stretch>
            <a:fillRect/>
          </a:stretch>
        </p:blipFill>
        <p:spPr>
          <a:xfrm>
            <a:off x="965599" y="3825606"/>
            <a:ext cx="2433091" cy="1238229"/>
          </a:xfrm>
          <a:prstGeom prst="rect">
            <a:avLst/>
          </a:prstGeom>
        </p:spPr>
      </p:pic>
      <p:sp>
        <p:nvSpPr>
          <p:cNvPr id="17" name="テキスト プレースホルダー 5">
            <a:extLst>
              <a:ext uri="{FF2B5EF4-FFF2-40B4-BE49-F238E27FC236}">
                <a16:creationId xmlns:a16="http://schemas.microsoft.com/office/drawing/2014/main" id="{CAA6D9A9-73BE-FD5F-6875-96C85E16D144}"/>
              </a:ext>
            </a:extLst>
          </p:cNvPr>
          <p:cNvSpPr txBox="1">
            <a:spLocks/>
          </p:cNvSpPr>
          <p:nvPr/>
        </p:nvSpPr>
        <p:spPr>
          <a:xfrm>
            <a:off x="107504" y="3285089"/>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1. Conventional HRA vs. Real-world </a:t>
            </a:r>
          </a:p>
        </p:txBody>
      </p:sp>
      <p:cxnSp>
        <p:nvCxnSpPr>
          <p:cNvPr id="18" name="直線コネクタ 17">
            <a:extLst>
              <a:ext uri="{FF2B5EF4-FFF2-40B4-BE49-F238E27FC236}">
                <a16:creationId xmlns:a16="http://schemas.microsoft.com/office/drawing/2014/main" id="{EC9C0661-9560-8292-D618-F2A30E1E0F7A}"/>
              </a:ext>
            </a:extLst>
          </p:cNvPr>
          <p:cNvCxnSpPr>
            <a:cxnSpLocks/>
          </p:cNvCxnSpPr>
          <p:nvPr/>
        </p:nvCxnSpPr>
        <p:spPr>
          <a:xfrm>
            <a:off x="572687" y="3645024"/>
            <a:ext cx="373931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5">
            <a:extLst>
              <a:ext uri="{FF2B5EF4-FFF2-40B4-BE49-F238E27FC236}">
                <a16:creationId xmlns:a16="http://schemas.microsoft.com/office/drawing/2014/main" id="{5BB4675D-1C9A-8A49-AAC1-315CC13F404C}"/>
              </a:ext>
            </a:extLst>
          </p:cNvPr>
          <p:cNvSpPr txBox="1">
            <a:spLocks/>
          </p:cNvSpPr>
          <p:nvPr/>
        </p:nvSpPr>
        <p:spPr>
          <a:xfrm>
            <a:off x="4438340" y="3266479"/>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2. Objective Image</a:t>
            </a:r>
          </a:p>
        </p:txBody>
      </p:sp>
      <p:cxnSp>
        <p:nvCxnSpPr>
          <p:cNvPr id="20" name="直線コネクタ 19">
            <a:extLst>
              <a:ext uri="{FF2B5EF4-FFF2-40B4-BE49-F238E27FC236}">
                <a16:creationId xmlns:a16="http://schemas.microsoft.com/office/drawing/2014/main" id="{4BBC319A-0511-8959-32A9-8BD593CC65C5}"/>
              </a:ext>
            </a:extLst>
          </p:cNvPr>
          <p:cNvCxnSpPr>
            <a:cxnSpLocks/>
          </p:cNvCxnSpPr>
          <p:nvPr/>
        </p:nvCxnSpPr>
        <p:spPr>
          <a:xfrm>
            <a:off x="4860032" y="3645024"/>
            <a:ext cx="373931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矢印: 下 21">
            <a:extLst>
              <a:ext uri="{FF2B5EF4-FFF2-40B4-BE49-F238E27FC236}">
                <a16:creationId xmlns:a16="http://schemas.microsoft.com/office/drawing/2014/main" id="{284A24F4-EFDA-0AEA-30C7-A702058CCC7F}"/>
              </a:ext>
            </a:extLst>
          </p:cNvPr>
          <p:cNvSpPr/>
          <p:nvPr/>
        </p:nvSpPr>
        <p:spPr>
          <a:xfrm>
            <a:off x="4426515" y="2034157"/>
            <a:ext cx="264335" cy="303715"/>
          </a:xfrm>
          <a:prstGeom prst="downArrow">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GB"/>
          </a:p>
        </p:txBody>
      </p:sp>
      <p:pic>
        <p:nvPicPr>
          <p:cNvPr id="24" name="図 23">
            <a:extLst>
              <a:ext uri="{FF2B5EF4-FFF2-40B4-BE49-F238E27FC236}">
                <a16:creationId xmlns:a16="http://schemas.microsoft.com/office/drawing/2014/main" id="{4B36E255-8810-97A8-A75F-CDA12989C0C6}"/>
              </a:ext>
            </a:extLst>
          </p:cNvPr>
          <p:cNvPicPr>
            <a:picLocks noChangeAspect="1"/>
          </p:cNvPicPr>
          <p:nvPr/>
        </p:nvPicPr>
        <p:blipFill>
          <a:blip r:embed="rId5"/>
          <a:stretch>
            <a:fillRect/>
          </a:stretch>
        </p:blipFill>
        <p:spPr>
          <a:xfrm>
            <a:off x="4311999" y="3855083"/>
            <a:ext cx="3506420" cy="2569927"/>
          </a:xfrm>
          <a:prstGeom prst="rect">
            <a:avLst/>
          </a:prstGeom>
        </p:spPr>
      </p:pic>
      <p:sp>
        <p:nvSpPr>
          <p:cNvPr id="25" name="テキスト ボックス 24">
            <a:extLst>
              <a:ext uri="{FF2B5EF4-FFF2-40B4-BE49-F238E27FC236}">
                <a16:creationId xmlns:a16="http://schemas.microsoft.com/office/drawing/2014/main" id="{B96B18D7-C364-4A7E-61EC-2D68198B62E7}"/>
              </a:ext>
            </a:extLst>
          </p:cNvPr>
          <p:cNvSpPr txBox="1"/>
          <p:nvPr/>
        </p:nvSpPr>
        <p:spPr>
          <a:xfrm>
            <a:off x="259311" y="3805231"/>
            <a:ext cx="2433091" cy="492443"/>
          </a:xfrm>
          <a:prstGeom prst="rect">
            <a:avLst/>
          </a:prstGeom>
          <a:noFill/>
        </p:spPr>
        <p:txBody>
          <a:bodyPr wrap="square">
            <a:spAutoFit/>
          </a:bodyPr>
          <a:lstStyle>
            <a:defPPr>
              <a:defRPr lang="ja-JP"/>
            </a:defPPr>
            <a:lvl1pPr>
              <a:defRPr sz="1300" b="1"/>
            </a:lvl1pPr>
          </a:lstStyle>
          <a:p>
            <a:r>
              <a:rPr lang="en-US" altLang="zh-TW" dirty="0">
                <a:solidFill>
                  <a:schemeClr val="tx2"/>
                </a:solidFill>
              </a:rPr>
              <a:t>Conventional static consideration</a:t>
            </a:r>
            <a:endParaRPr lang="ja-JP" altLang="en-US" i="1" dirty="0">
              <a:solidFill>
                <a:schemeClr val="tx2"/>
              </a:solidFill>
            </a:endParaRPr>
          </a:p>
        </p:txBody>
      </p:sp>
      <p:sp>
        <p:nvSpPr>
          <p:cNvPr id="26" name="テキスト ボックス 25">
            <a:extLst>
              <a:ext uri="{FF2B5EF4-FFF2-40B4-BE49-F238E27FC236}">
                <a16:creationId xmlns:a16="http://schemas.microsoft.com/office/drawing/2014/main" id="{CA9BC1DF-F5B2-054F-22A2-D04D17A92314}"/>
              </a:ext>
            </a:extLst>
          </p:cNvPr>
          <p:cNvSpPr txBox="1"/>
          <p:nvPr/>
        </p:nvSpPr>
        <p:spPr>
          <a:xfrm>
            <a:off x="234340" y="5151891"/>
            <a:ext cx="2433091" cy="292388"/>
          </a:xfrm>
          <a:prstGeom prst="rect">
            <a:avLst/>
          </a:prstGeom>
          <a:noFill/>
        </p:spPr>
        <p:txBody>
          <a:bodyPr wrap="square">
            <a:spAutoFit/>
          </a:bodyPr>
          <a:lstStyle>
            <a:defPPr>
              <a:defRPr lang="ja-JP"/>
            </a:defPPr>
            <a:lvl1pPr>
              <a:defRPr sz="1300" b="1"/>
            </a:lvl1pPr>
          </a:lstStyle>
          <a:p>
            <a:r>
              <a:rPr lang="en-US" altLang="zh-TW" dirty="0">
                <a:solidFill>
                  <a:schemeClr val="tx2"/>
                </a:solidFill>
              </a:rPr>
              <a:t>Real-world dynamics</a:t>
            </a:r>
            <a:endParaRPr lang="ja-JP" altLang="en-US" i="1" dirty="0">
              <a:solidFill>
                <a:schemeClr val="tx2"/>
              </a:solidFill>
            </a:endParaRPr>
          </a:p>
        </p:txBody>
      </p:sp>
      <p:sp>
        <p:nvSpPr>
          <p:cNvPr id="27" name="角丸四角形吹き出し 1045">
            <a:extLst>
              <a:ext uri="{FF2B5EF4-FFF2-40B4-BE49-F238E27FC236}">
                <a16:creationId xmlns:a16="http://schemas.microsoft.com/office/drawing/2014/main" id="{58DC096D-B6FF-96DF-0697-8534A72E09F8}"/>
              </a:ext>
            </a:extLst>
          </p:cNvPr>
          <p:cNvSpPr/>
          <p:nvPr/>
        </p:nvSpPr>
        <p:spPr>
          <a:xfrm>
            <a:off x="7452320" y="3783480"/>
            <a:ext cx="1610620" cy="1724237"/>
          </a:xfrm>
          <a:prstGeom prst="wedgeRoundRectCallout">
            <a:avLst>
              <a:gd name="adj1" fmla="val -123609"/>
              <a:gd name="adj2" fmla="val -35902"/>
              <a:gd name="adj3" fmla="val 16667"/>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2"/>
                </a:solidFill>
              </a:rPr>
              <a:t> How can we model </a:t>
            </a:r>
            <a:r>
              <a:rPr lang="en-US" altLang="zh-TW" sz="1200" b="1" dirty="0">
                <a:solidFill>
                  <a:schemeClr val="tx2"/>
                </a:solidFill>
              </a:rPr>
              <a:t>dynamic human actions </a:t>
            </a:r>
            <a:r>
              <a:rPr lang="en-US" altLang="zh-TW" sz="1200" dirty="0">
                <a:solidFill>
                  <a:schemeClr val="tx2"/>
                </a:solidFill>
              </a:rPr>
              <a:t>together with time-varying machine and environmental conditions?</a:t>
            </a:r>
          </a:p>
        </p:txBody>
      </p:sp>
    </p:spTree>
    <p:extLst>
      <p:ext uri="{BB962C8B-B14F-4D97-AF65-F5344CB8AC3E}">
        <p14:creationId xmlns:p14="http://schemas.microsoft.com/office/powerpoint/2010/main" val="761514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3874D-03D0-2381-02D4-9C8A72387291}"/>
            </a:ext>
          </a:extLst>
        </p:cNvPr>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8B8CB4A1-CE4F-4445-8430-4B90B90554CF}"/>
              </a:ext>
            </a:extLst>
          </p:cNvPr>
          <p:cNvSpPr>
            <a:spLocks noGrp="1"/>
          </p:cNvSpPr>
          <p:nvPr>
            <p:ph type="body" sz="quarter" idx="14"/>
          </p:nvPr>
        </p:nvSpPr>
        <p:spPr>
          <a:xfrm>
            <a:off x="374499" y="1340769"/>
            <a:ext cx="8395015" cy="4824536"/>
          </a:xfrm>
        </p:spPr>
        <p:txBody>
          <a:bodyPr/>
          <a:lstStyle/>
          <a:p>
            <a:r>
              <a:rPr lang="en-US" altLang="ja-JP" sz="2000" dirty="0">
                <a:solidFill>
                  <a:schemeClr val="bg1">
                    <a:lumMod val="50000"/>
                  </a:schemeClr>
                </a:solidFill>
              </a:rPr>
              <a:t>Introduction</a:t>
            </a:r>
          </a:p>
          <a:p>
            <a:endParaRPr lang="en-US" altLang="ja-JP" sz="2000" dirty="0"/>
          </a:p>
          <a:p>
            <a:r>
              <a:rPr lang="en-US" altLang="ja-JP" sz="2000" b="1" dirty="0">
                <a:solidFill>
                  <a:srgbClr val="C00000"/>
                </a:solidFill>
              </a:rPr>
              <a:t>Methodology</a:t>
            </a:r>
          </a:p>
          <a:p>
            <a:endParaRPr lang="en-US" altLang="ja-JP" sz="2000" dirty="0">
              <a:solidFill>
                <a:schemeClr val="bg1">
                  <a:lumMod val="50000"/>
                </a:schemeClr>
              </a:solidFill>
            </a:endParaRPr>
          </a:p>
          <a:p>
            <a:r>
              <a:rPr lang="en-US" altLang="ja-JP" sz="2000" dirty="0">
                <a:solidFill>
                  <a:schemeClr val="bg1">
                    <a:lumMod val="50000"/>
                  </a:schemeClr>
                </a:solidFill>
              </a:rPr>
              <a:t>Test Scenario</a:t>
            </a:r>
          </a:p>
          <a:p>
            <a:endParaRPr lang="en-US" altLang="ja-JP" sz="2000" dirty="0">
              <a:solidFill>
                <a:schemeClr val="bg1">
                  <a:lumMod val="50000"/>
                </a:schemeClr>
              </a:solidFill>
            </a:endParaRPr>
          </a:p>
          <a:p>
            <a:r>
              <a:rPr lang="en-US" altLang="ja-JP" sz="2000" dirty="0">
                <a:solidFill>
                  <a:schemeClr val="bg1">
                    <a:lumMod val="50000"/>
                  </a:schemeClr>
                </a:solidFill>
              </a:rPr>
              <a:t>Scenario-Specific Adaptation</a:t>
            </a:r>
          </a:p>
          <a:p>
            <a:pPr marL="0" indent="0">
              <a:buNone/>
            </a:pPr>
            <a:endParaRPr lang="en-US" altLang="ja-JP" sz="2000" dirty="0">
              <a:solidFill>
                <a:schemeClr val="bg1">
                  <a:lumMod val="50000"/>
                </a:schemeClr>
              </a:solidFill>
            </a:endParaRPr>
          </a:p>
          <a:p>
            <a:r>
              <a:rPr lang="en-US" altLang="ja-JP" sz="2000" dirty="0">
                <a:solidFill>
                  <a:schemeClr val="bg1">
                    <a:lumMod val="50000"/>
                  </a:schemeClr>
                </a:solidFill>
              </a:rPr>
              <a:t>Summary</a:t>
            </a:r>
          </a:p>
          <a:p>
            <a:endParaRPr lang="en-US" altLang="ja-JP" sz="2000" dirty="0"/>
          </a:p>
          <a:p>
            <a:endParaRPr lang="en-US" altLang="ja-JP" sz="2000" dirty="0"/>
          </a:p>
          <a:p>
            <a:pPr lvl="1"/>
            <a:endParaRPr lang="ja-JP" altLang="en-US" sz="2000" dirty="0"/>
          </a:p>
        </p:txBody>
      </p:sp>
    </p:spTree>
    <p:extLst>
      <p:ext uri="{BB962C8B-B14F-4D97-AF65-F5344CB8AC3E}">
        <p14:creationId xmlns:p14="http://schemas.microsoft.com/office/powerpoint/2010/main" val="1583426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F0EC4D-1E80-32EF-E93B-8DFD7EADAEC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4FEC333-FF3B-CFF3-399B-502801B0B516}"/>
              </a:ext>
            </a:extLst>
          </p:cNvPr>
          <p:cNvSpPr>
            <a:spLocks noGrp="1"/>
          </p:cNvSpPr>
          <p:nvPr>
            <p:ph type="title"/>
          </p:nvPr>
        </p:nvSpPr>
        <p:spPr/>
        <p:txBody>
          <a:bodyPr/>
          <a:lstStyle/>
          <a:p>
            <a:pPr algn="l"/>
            <a:r>
              <a:rPr lang="en-US" altLang="zh-TW" dirty="0"/>
              <a:t>Methodology </a:t>
            </a:r>
            <a:r>
              <a:rPr lang="en-US" altLang="zh-TW" sz="2000" dirty="0">
                <a:cs typeface="Calibri" panose="020F0502020204030204" pitchFamily="34" charset="0"/>
              </a:rPr>
              <a:t>— D</a:t>
            </a:r>
            <a:r>
              <a:rPr lang="en-US" altLang="ja-JP" sz="2000" dirty="0"/>
              <a:t>ynamic Event Sampling </a:t>
            </a:r>
            <a:r>
              <a:rPr lang="en-US" altLang="zh-TW" sz="2000" dirty="0">
                <a:cs typeface="Calibri" panose="020F0502020204030204" pitchFamily="34" charset="0"/>
              </a:rPr>
              <a:t>—</a:t>
            </a:r>
            <a:endParaRPr kumimoji="1" lang="ja-JP" altLang="en-US" sz="2000" dirty="0"/>
          </a:p>
        </p:txBody>
      </p:sp>
      <mc:AlternateContent xmlns:mc="http://schemas.openxmlformats.org/markup-compatibility/2006" xmlns:a14="http://schemas.microsoft.com/office/drawing/2010/main">
        <mc:Choice Requires="a14">
          <p:sp>
            <p:nvSpPr>
              <p:cNvPr id="14" name="コンテンツ プレースホルダー 4">
                <a:extLst>
                  <a:ext uri="{FF2B5EF4-FFF2-40B4-BE49-F238E27FC236}">
                    <a16:creationId xmlns:a16="http://schemas.microsoft.com/office/drawing/2014/main" id="{20435B8B-F8B0-9703-F610-E2208973B077}"/>
                  </a:ext>
                </a:extLst>
              </p:cNvPr>
              <p:cNvSpPr>
                <a:spLocks noGrp="1"/>
              </p:cNvSpPr>
              <p:nvPr>
                <p:ph idx="1"/>
              </p:nvPr>
            </p:nvSpPr>
            <p:spPr>
              <a:xfrm>
                <a:off x="234340" y="1199667"/>
                <a:ext cx="8675320" cy="1848891"/>
              </a:xfrm>
            </p:spPr>
            <p:txBody>
              <a:bodyPr/>
              <a:lstStyle/>
              <a:p>
                <a:r>
                  <a:rPr lang="en-US" altLang="zh-TW" b="1" dirty="0"/>
                  <a:t>Conventional Monte Carlo vs. CMMC</a:t>
                </a:r>
                <a:r>
                  <a:rPr lang="en-US" altLang="ja-JP" b="1" dirty="0"/>
                  <a:t>:</a:t>
                </a:r>
              </a:p>
              <a:p>
                <a:pPr lvl="1"/>
                <a:r>
                  <a:rPr lang="en-US" altLang="ja-JP" b="1" dirty="0"/>
                  <a:t>Traditional </a:t>
                </a:r>
                <a:r>
                  <a:rPr lang="en-US" altLang="zh-TW" b="1" dirty="0"/>
                  <a:t>Monte Carlo </a:t>
                </a:r>
                <a:r>
                  <a:rPr lang="en-US" altLang="ja-JP" b="1" dirty="0"/>
                  <a:t>: </a:t>
                </a:r>
                <a:r>
                  <a:rPr lang="en-US" altLang="ja-JP" dirty="0"/>
                  <a:t>Sampling </a:t>
                </a:r>
                <a:r>
                  <a:rPr lang="en-US" altLang="ja-JP" b="1" dirty="0"/>
                  <a:t>event end-time </a:t>
                </a:r>
                <a:r>
                  <a:rPr lang="en-US" altLang="ja-JP" dirty="0"/>
                  <a:t>directly based on a Probability Density Function (PDF) derived from the </a:t>
                </a:r>
                <a:r>
                  <a:rPr lang="en-US" altLang="ja-JP" b="1" dirty="0"/>
                  <a:t>information at t</a:t>
                </a:r>
                <a:r>
                  <a:rPr lang="en-US" altLang="ja-JP" b="1" baseline="-25000" dirty="0"/>
                  <a:t>0. </a:t>
                </a:r>
                <a:r>
                  <a:rPr lang="ja-JP" altLang="en-US"/>
                  <a:t>➡</a:t>
                </a:r>
                <a:r>
                  <a:rPr lang="zh-TW" altLang="en-US" dirty="0"/>
                  <a:t> </a:t>
                </a:r>
                <a:r>
                  <a:rPr lang="en-US" altLang="ja-JP" dirty="0"/>
                  <a:t>Fails to react to environmental changes occurring during the event.</a:t>
                </a:r>
              </a:p>
              <a:p>
                <a:pPr lvl="1"/>
                <a:r>
                  <a:rPr lang="en-US" altLang="zh-TW" b="1" dirty="0"/>
                  <a:t>CMMC</a:t>
                </a:r>
                <a:r>
                  <a:rPr lang="en-US" altLang="ja-JP" b="1" dirty="0"/>
                  <a:t>: </a:t>
                </a:r>
                <a:r>
                  <a:rPr lang="ja-JP" altLang="ja-JP" dirty="0"/>
                  <a:t>Evaluates </a:t>
                </a:r>
                <a:r>
                  <a:rPr lang="en-US" altLang="ja-JP" dirty="0"/>
                  <a:t>event</a:t>
                </a:r>
                <a:r>
                  <a:rPr lang="ja-JP" altLang="ja-JP" dirty="0"/>
                  <a:t> </a:t>
                </a:r>
                <a:r>
                  <a:rPr lang="ja-JP" altLang="ja-JP" b="1" dirty="0"/>
                  <a:t>at every small timestep (</a:t>
                </a:r>
                <a14:m>
                  <m:oMath xmlns:m="http://schemas.openxmlformats.org/officeDocument/2006/math">
                    <m:r>
                      <a:rPr lang="en-US" altLang="ja-JP" b="1" i="1">
                        <a:latin typeface="Cambria Math" panose="02040503050406030204" pitchFamily="18" charset="0"/>
                      </a:rPr>
                      <m:t>𝚫</m:t>
                    </m:r>
                    <m:r>
                      <a:rPr lang="ja-JP" altLang="en-US" b="1" i="1">
                        <a:latin typeface="Cambria Math" panose="02040503050406030204" pitchFamily="18" charset="0"/>
                      </a:rPr>
                      <m:t>𝒕</m:t>
                    </m:r>
                  </m:oMath>
                </a14:m>
                <a:r>
                  <a:rPr lang="ja-JP" altLang="ja-JP" b="1" dirty="0"/>
                  <a:t>)</a:t>
                </a:r>
                <a:r>
                  <a:rPr lang="en-US" altLang="ja-JP" b="1" dirty="0"/>
                  <a:t>, </a:t>
                </a:r>
                <a:r>
                  <a:rPr lang="en-US" altLang="ja-JP" dirty="0"/>
                  <a:t>and</a:t>
                </a:r>
                <a:r>
                  <a:rPr lang="ja-JP" altLang="ja-JP" dirty="0"/>
                  <a:t> </a:t>
                </a:r>
                <a:r>
                  <a:rPr lang="en-US" altLang="ja-JP" dirty="0"/>
                  <a:t>c</a:t>
                </a:r>
                <a:r>
                  <a:rPr lang="ja-JP" altLang="ja-JP" dirty="0"/>
                  <a:t>ontinuously updates transition probabilities based on current environmental conditions</a:t>
                </a:r>
                <a:r>
                  <a:rPr lang="ja-JP" altLang="en-US" dirty="0"/>
                  <a:t> ➡ </a:t>
                </a:r>
                <a:r>
                  <a:rPr lang="en-US" altLang="ja-JP" dirty="0"/>
                  <a:t>A</a:t>
                </a:r>
                <a:r>
                  <a:rPr lang="ja-JP" altLang="ja-JP" dirty="0"/>
                  <a:t>llowing </a:t>
                </a:r>
                <a:r>
                  <a:rPr lang="ja-JP" altLang="ja-JP"/>
                  <a:t>the </a:t>
                </a:r>
                <a:r>
                  <a:rPr lang="en-US" altLang="ja-JP" dirty="0"/>
                  <a:t>sampling</a:t>
                </a:r>
                <a:r>
                  <a:rPr lang="ja-JP" altLang="ja-JP"/>
                  <a:t> to react</a:t>
                </a:r>
                <a:r>
                  <a:rPr lang="zh-TW" altLang="en-US" dirty="0"/>
                  <a:t> </a:t>
                </a:r>
                <a:r>
                  <a:rPr lang="en-US" altLang="zh-TW" dirty="0"/>
                  <a:t>the change happening</a:t>
                </a:r>
                <a:r>
                  <a:rPr lang="ja-JP" altLang="ja-JP"/>
                  <a:t> </a:t>
                </a:r>
                <a:r>
                  <a:rPr lang="ja-JP" altLang="ja-JP" dirty="0"/>
                  <a:t>before an event concludes.</a:t>
                </a:r>
                <a:endParaRPr lang="en-US" altLang="ja-JP" dirty="0"/>
              </a:p>
              <a:p>
                <a:pPr lvl="1"/>
                <a:endParaRPr lang="ja-JP" altLang="en-US" dirty="0"/>
              </a:p>
              <a:p>
                <a:endParaRPr kumimoji="1" lang="ja-JP" altLang="en-US" dirty="0"/>
              </a:p>
            </p:txBody>
          </p:sp>
        </mc:Choice>
        <mc:Fallback xmlns="">
          <p:sp>
            <p:nvSpPr>
              <p:cNvPr id="14" name="コンテンツ プレースホルダー 4">
                <a:extLst>
                  <a:ext uri="{FF2B5EF4-FFF2-40B4-BE49-F238E27FC236}">
                    <a16:creationId xmlns:a16="http://schemas.microsoft.com/office/drawing/2014/main" id="{20435B8B-F8B0-9703-F610-E2208973B077}"/>
                  </a:ext>
                </a:extLst>
              </p:cNvPr>
              <p:cNvSpPr>
                <a:spLocks noGrp="1" noRot="1" noChangeAspect="1" noMove="1" noResize="1" noEditPoints="1" noAdjustHandles="1" noChangeArrowheads="1" noChangeShapeType="1" noTextEdit="1"/>
              </p:cNvSpPr>
              <p:nvPr>
                <p:ph idx="1"/>
              </p:nvPr>
            </p:nvSpPr>
            <p:spPr>
              <a:xfrm>
                <a:off x="234340" y="1199667"/>
                <a:ext cx="8675320" cy="1848891"/>
              </a:xfrm>
              <a:blipFill>
                <a:blip r:embed="rId3"/>
                <a:stretch>
                  <a:fillRect l="-292" t="-680" b="-5442"/>
                </a:stretch>
              </a:blipFill>
            </p:spPr>
            <p:txBody>
              <a:bodyPr/>
              <a:lstStyle/>
              <a:p>
                <a:r>
                  <a:rPr lang="ja-JP" altLang="en-US">
                    <a:noFill/>
                  </a:rPr>
                  <a:t> </a:t>
                </a:r>
              </a:p>
            </p:txBody>
          </p:sp>
        </mc:Fallback>
      </mc:AlternateContent>
      <p:sp>
        <p:nvSpPr>
          <p:cNvPr id="17" name="テキスト プレースホルダー 5">
            <a:extLst>
              <a:ext uri="{FF2B5EF4-FFF2-40B4-BE49-F238E27FC236}">
                <a16:creationId xmlns:a16="http://schemas.microsoft.com/office/drawing/2014/main" id="{1FE86669-7927-656F-235E-DE48120D3039}"/>
              </a:ext>
            </a:extLst>
          </p:cNvPr>
          <p:cNvSpPr txBox="1">
            <a:spLocks/>
          </p:cNvSpPr>
          <p:nvPr/>
        </p:nvSpPr>
        <p:spPr>
          <a:xfrm>
            <a:off x="-81664" y="3118246"/>
            <a:ext cx="4201649" cy="335129"/>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1. Traditional Monte Carlo vs. CMMC </a:t>
            </a:r>
          </a:p>
        </p:txBody>
      </p:sp>
      <p:cxnSp>
        <p:nvCxnSpPr>
          <p:cNvPr id="18" name="直線コネクタ 17">
            <a:extLst>
              <a:ext uri="{FF2B5EF4-FFF2-40B4-BE49-F238E27FC236}">
                <a16:creationId xmlns:a16="http://schemas.microsoft.com/office/drawing/2014/main" id="{AD75A66E-4449-F06B-3BB8-31ABC206A6A7}"/>
              </a:ext>
            </a:extLst>
          </p:cNvPr>
          <p:cNvCxnSpPr>
            <a:cxnSpLocks/>
          </p:cNvCxnSpPr>
          <p:nvPr/>
        </p:nvCxnSpPr>
        <p:spPr>
          <a:xfrm>
            <a:off x="421953" y="3508661"/>
            <a:ext cx="373931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5">
            <a:extLst>
              <a:ext uri="{FF2B5EF4-FFF2-40B4-BE49-F238E27FC236}">
                <a16:creationId xmlns:a16="http://schemas.microsoft.com/office/drawing/2014/main" id="{7C3D7500-7AFB-F4EF-286D-0833A3C06B7E}"/>
              </a:ext>
            </a:extLst>
          </p:cNvPr>
          <p:cNvSpPr txBox="1">
            <a:spLocks/>
          </p:cNvSpPr>
          <p:nvPr/>
        </p:nvSpPr>
        <p:spPr>
          <a:xfrm>
            <a:off x="4658874" y="3086895"/>
            <a:ext cx="3895831"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2. Formulation of CMMC</a:t>
            </a:r>
          </a:p>
        </p:txBody>
      </p:sp>
      <p:cxnSp>
        <p:nvCxnSpPr>
          <p:cNvPr id="20" name="直線コネクタ 19">
            <a:extLst>
              <a:ext uri="{FF2B5EF4-FFF2-40B4-BE49-F238E27FC236}">
                <a16:creationId xmlns:a16="http://schemas.microsoft.com/office/drawing/2014/main" id="{8372428F-73AB-D1C0-8D3D-15287C91BFE0}"/>
              </a:ext>
            </a:extLst>
          </p:cNvPr>
          <p:cNvCxnSpPr>
            <a:cxnSpLocks/>
          </p:cNvCxnSpPr>
          <p:nvPr/>
        </p:nvCxnSpPr>
        <p:spPr>
          <a:xfrm>
            <a:off x="5024016" y="3402885"/>
            <a:ext cx="373931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図 5">
            <a:extLst>
              <a:ext uri="{FF2B5EF4-FFF2-40B4-BE49-F238E27FC236}">
                <a16:creationId xmlns:a16="http://schemas.microsoft.com/office/drawing/2014/main" id="{7AD0783B-7546-947A-355A-E49C66742CCA}"/>
              </a:ext>
            </a:extLst>
          </p:cNvPr>
          <p:cNvPicPr>
            <a:picLocks noChangeAspect="1"/>
          </p:cNvPicPr>
          <p:nvPr/>
        </p:nvPicPr>
        <p:blipFill>
          <a:blip r:embed="rId4">
            <a:extLst>
              <a:ext uri="{28A0092B-C50C-407E-A947-70E740481C1C}">
                <a14:useLocalDpi xmlns:a14="http://schemas.microsoft.com/office/drawing/2010/main" val="0"/>
              </a:ext>
            </a:extLst>
          </a:blip>
          <a:srcRect l="19609" t="14373" r="18180" b="15064"/>
          <a:stretch>
            <a:fillRect/>
          </a:stretch>
        </p:blipFill>
        <p:spPr>
          <a:xfrm>
            <a:off x="5024016" y="3528305"/>
            <a:ext cx="3443734" cy="2974321"/>
          </a:xfrm>
          <a:prstGeom prst="rect">
            <a:avLst/>
          </a:prstGeom>
          <a:solidFill>
            <a:schemeClr val="bg1"/>
          </a:solidFill>
        </p:spPr>
      </p:pic>
      <p:sp>
        <p:nvSpPr>
          <p:cNvPr id="12" name="テキスト プレースホルダー 12">
            <a:extLst>
              <a:ext uri="{FF2B5EF4-FFF2-40B4-BE49-F238E27FC236}">
                <a16:creationId xmlns:a16="http://schemas.microsoft.com/office/drawing/2014/main" id="{30B66B6B-DBDE-40EC-6B9D-44F85684B5C9}"/>
              </a:ext>
            </a:extLst>
          </p:cNvPr>
          <p:cNvSpPr txBox="1">
            <a:spLocks/>
          </p:cNvSpPr>
          <p:nvPr/>
        </p:nvSpPr>
        <p:spPr bwMode="auto">
          <a:xfrm>
            <a:off x="1187624" y="6571093"/>
            <a:ext cx="8395015" cy="25100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1" fontAlgn="base" hangingPunct="1">
              <a:spcBef>
                <a:spcPts val="277"/>
              </a:spcBef>
              <a:spcAft>
                <a:spcPct val="0"/>
              </a:spcAft>
              <a:buClr>
                <a:schemeClr val="tx1"/>
              </a:buClr>
              <a:buFont typeface="Wingdings" panose="05000000000000000000" pitchFamily="2" charset="2"/>
              <a:buNone/>
              <a:defRPr kumimoji="1" sz="11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922"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922"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922"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922"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r>
              <a:rPr lang="en-US" altLang="ja-JP" b="1" dirty="0"/>
              <a:t>CMMC: Continuous Markov chain Monte Carlo</a:t>
            </a:r>
            <a:endParaRPr lang="ja-JP" altLang="en-US" dirty="0"/>
          </a:p>
        </p:txBody>
      </p:sp>
      <p:cxnSp>
        <p:nvCxnSpPr>
          <p:cNvPr id="31" name="直線矢印コネクタ 30">
            <a:extLst>
              <a:ext uri="{FF2B5EF4-FFF2-40B4-BE49-F238E27FC236}">
                <a16:creationId xmlns:a16="http://schemas.microsoft.com/office/drawing/2014/main" id="{BC077DB8-4740-893A-8943-F3621E387896}"/>
              </a:ext>
            </a:extLst>
          </p:cNvPr>
          <p:cNvCxnSpPr>
            <a:cxnSpLocks/>
          </p:cNvCxnSpPr>
          <p:nvPr/>
        </p:nvCxnSpPr>
        <p:spPr>
          <a:xfrm>
            <a:off x="692429" y="4390738"/>
            <a:ext cx="3085380" cy="0"/>
          </a:xfrm>
          <a:prstGeom prst="straightConnector1">
            <a:avLst/>
          </a:prstGeom>
          <a:ln w="69850">
            <a:solidFill>
              <a:srgbClr val="093A65"/>
            </a:solidFill>
            <a:tailEnd type="stealth"/>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BA2C3B33-9B1A-5CD7-CDB0-5FB275A27799}"/>
              </a:ext>
            </a:extLst>
          </p:cNvPr>
          <p:cNvCxnSpPr/>
          <p:nvPr/>
        </p:nvCxnSpPr>
        <p:spPr>
          <a:xfrm>
            <a:off x="692429" y="3742666"/>
            <a:ext cx="0" cy="648072"/>
          </a:xfrm>
          <a:prstGeom prst="line">
            <a:avLst/>
          </a:prstGeom>
          <a:ln w="38100">
            <a:solidFill>
              <a:srgbClr val="093A65"/>
            </a:solidFill>
          </a:ln>
        </p:spPr>
        <p:style>
          <a:lnRef idx="1">
            <a:schemeClr val="accent1"/>
          </a:lnRef>
          <a:fillRef idx="0">
            <a:schemeClr val="accent1"/>
          </a:fillRef>
          <a:effectRef idx="0">
            <a:schemeClr val="accent1"/>
          </a:effectRef>
          <a:fontRef idx="minor">
            <a:schemeClr val="tx1"/>
          </a:fontRef>
        </p:style>
      </p:cxnSp>
      <p:pic>
        <p:nvPicPr>
          <p:cNvPr id="40" name="Picture 2">
            <a:extLst>
              <a:ext uri="{FF2B5EF4-FFF2-40B4-BE49-F238E27FC236}">
                <a16:creationId xmlns:a16="http://schemas.microsoft.com/office/drawing/2014/main" id="{8844D1CF-72F7-5F8D-1E8E-FEF574E06693}"/>
              </a:ext>
            </a:extLst>
          </p:cNvPr>
          <p:cNvPicPr>
            <a:picLocks noChangeAspect="1"/>
          </p:cNvPicPr>
          <p:nvPr/>
        </p:nvPicPr>
        <p:blipFill>
          <a:blip r:embed="rId5"/>
          <a:srcRect l="16503" t="25669" r="70388" b="59109"/>
          <a:stretch>
            <a:fillRect/>
          </a:stretch>
        </p:blipFill>
        <p:spPr>
          <a:xfrm>
            <a:off x="753473" y="3820821"/>
            <a:ext cx="2614363" cy="541960"/>
          </a:xfrm>
          <a:prstGeom prst="rect">
            <a:avLst/>
          </a:prstGeom>
        </p:spPr>
      </p:pic>
      <p:pic>
        <p:nvPicPr>
          <p:cNvPr id="42" name="Picture 2">
            <a:extLst>
              <a:ext uri="{FF2B5EF4-FFF2-40B4-BE49-F238E27FC236}">
                <a16:creationId xmlns:a16="http://schemas.microsoft.com/office/drawing/2014/main" id="{39863FDE-F837-A0E0-EC07-85C4826BB0C9}"/>
              </a:ext>
            </a:extLst>
          </p:cNvPr>
          <p:cNvPicPr>
            <a:picLocks noChangeAspect="1"/>
          </p:cNvPicPr>
          <p:nvPr/>
        </p:nvPicPr>
        <p:blipFill>
          <a:blip r:embed="rId5"/>
          <a:srcRect l="13861" t="49736" r="64494" b="36401"/>
          <a:stretch>
            <a:fillRect/>
          </a:stretch>
        </p:blipFill>
        <p:spPr>
          <a:xfrm>
            <a:off x="573576" y="5513647"/>
            <a:ext cx="1728629" cy="641305"/>
          </a:xfrm>
          <a:prstGeom prst="rect">
            <a:avLst/>
          </a:prstGeom>
        </p:spPr>
      </p:pic>
      <p:sp>
        <p:nvSpPr>
          <p:cNvPr id="45" name="テキスト ボックス 44">
            <a:extLst>
              <a:ext uri="{FF2B5EF4-FFF2-40B4-BE49-F238E27FC236}">
                <a16:creationId xmlns:a16="http://schemas.microsoft.com/office/drawing/2014/main" id="{01B30D2A-5BB0-DDC7-12AA-882C48D72A25}"/>
              </a:ext>
            </a:extLst>
          </p:cNvPr>
          <p:cNvSpPr txBox="1"/>
          <p:nvPr/>
        </p:nvSpPr>
        <p:spPr>
          <a:xfrm>
            <a:off x="506926" y="4347984"/>
            <a:ext cx="493092" cy="338554"/>
          </a:xfrm>
          <a:prstGeom prst="rect">
            <a:avLst/>
          </a:prstGeom>
          <a:noFill/>
        </p:spPr>
        <p:txBody>
          <a:bodyPr wrap="square">
            <a:spAutoFit/>
          </a:bodyPr>
          <a:lstStyle/>
          <a:p>
            <a:r>
              <a:rPr lang="en-US" altLang="ja-JP" sz="1600" dirty="0">
                <a:latin typeface="+mn-lt"/>
              </a:rPr>
              <a:t>t</a:t>
            </a:r>
            <a:r>
              <a:rPr lang="en-US" altLang="ja-JP" sz="1600" baseline="-25000" dirty="0">
                <a:latin typeface="+mn-lt"/>
              </a:rPr>
              <a:t>0</a:t>
            </a:r>
            <a:endParaRPr lang="ja-JP" altLang="en-US" dirty="0">
              <a:latin typeface="+mn-lt"/>
            </a:endParaRPr>
          </a:p>
        </p:txBody>
      </p:sp>
      <p:sp>
        <p:nvSpPr>
          <p:cNvPr id="46" name="テキスト ボックス 45">
            <a:extLst>
              <a:ext uri="{FF2B5EF4-FFF2-40B4-BE49-F238E27FC236}">
                <a16:creationId xmlns:a16="http://schemas.microsoft.com/office/drawing/2014/main" id="{267B7959-543B-FC89-24B7-C91D4BA4F9B6}"/>
              </a:ext>
            </a:extLst>
          </p:cNvPr>
          <p:cNvSpPr txBox="1"/>
          <p:nvPr/>
        </p:nvSpPr>
        <p:spPr>
          <a:xfrm>
            <a:off x="443906" y="5860377"/>
            <a:ext cx="493092" cy="338554"/>
          </a:xfrm>
          <a:prstGeom prst="rect">
            <a:avLst/>
          </a:prstGeom>
          <a:noFill/>
        </p:spPr>
        <p:txBody>
          <a:bodyPr wrap="square">
            <a:spAutoFit/>
          </a:bodyPr>
          <a:lstStyle/>
          <a:p>
            <a:r>
              <a:rPr lang="en-US" altLang="ja-JP" sz="1600" dirty="0">
                <a:latin typeface="+mn-lt"/>
              </a:rPr>
              <a:t>t</a:t>
            </a:r>
            <a:r>
              <a:rPr lang="en-US" altLang="ja-JP" sz="1600" baseline="-25000" dirty="0">
                <a:latin typeface="+mn-lt"/>
              </a:rPr>
              <a:t>0</a:t>
            </a:r>
            <a:endParaRPr lang="ja-JP" altLang="en-US" dirty="0">
              <a:latin typeface="+mn-lt"/>
            </a:endParaRPr>
          </a:p>
        </p:txBody>
      </p:sp>
      <p:sp>
        <p:nvSpPr>
          <p:cNvPr id="49" name="楕円 48">
            <a:extLst>
              <a:ext uri="{FF2B5EF4-FFF2-40B4-BE49-F238E27FC236}">
                <a16:creationId xmlns:a16="http://schemas.microsoft.com/office/drawing/2014/main" id="{B00EDECD-2CF4-5499-E34E-5B3CA121773C}"/>
              </a:ext>
            </a:extLst>
          </p:cNvPr>
          <p:cNvSpPr/>
          <p:nvPr/>
        </p:nvSpPr>
        <p:spPr>
          <a:xfrm>
            <a:off x="2737951" y="4398044"/>
            <a:ext cx="144000" cy="14400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4" name="コネクタ: 曲線 53">
            <a:extLst>
              <a:ext uri="{FF2B5EF4-FFF2-40B4-BE49-F238E27FC236}">
                <a16:creationId xmlns:a16="http://schemas.microsoft.com/office/drawing/2014/main" id="{31872E46-155A-2116-0CA4-B17D30311F5B}"/>
              </a:ext>
            </a:extLst>
          </p:cNvPr>
          <p:cNvCxnSpPr>
            <a:stCxn id="45" idx="2"/>
            <a:endCxn id="49" idx="3"/>
          </p:cNvCxnSpPr>
          <p:nvPr/>
        </p:nvCxnSpPr>
        <p:spPr>
          <a:xfrm rot="5400000" flipH="1" flipV="1">
            <a:off x="1673464" y="3600963"/>
            <a:ext cx="165582" cy="2005567"/>
          </a:xfrm>
          <a:prstGeom prst="curvedConnector3">
            <a:avLst>
              <a:gd name="adj1" fmla="val -138058"/>
            </a:avLst>
          </a:prstGeom>
          <a:ln w="15875">
            <a:solidFill>
              <a:schemeClr val="tx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57" name="テキスト ボックス 56">
            <a:extLst>
              <a:ext uri="{FF2B5EF4-FFF2-40B4-BE49-F238E27FC236}">
                <a16:creationId xmlns:a16="http://schemas.microsoft.com/office/drawing/2014/main" id="{B073637B-3DE9-AD04-643E-BADF0DA37FDC}"/>
              </a:ext>
            </a:extLst>
          </p:cNvPr>
          <p:cNvSpPr txBox="1"/>
          <p:nvPr/>
        </p:nvSpPr>
        <p:spPr>
          <a:xfrm>
            <a:off x="2972987" y="4425858"/>
            <a:ext cx="1188294" cy="349555"/>
          </a:xfrm>
          <a:prstGeom prst="rect">
            <a:avLst/>
          </a:prstGeom>
          <a:noFill/>
        </p:spPr>
        <p:txBody>
          <a:bodyPr wrap="square">
            <a:spAutoFit/>
          </a:bodyPr>
          <a:lstStyle/>
          <a:p>
            <a:r>
              <a:rPr lang="en-US" altLang="ja-JP" sz="1600" b="1" dirty="0">
                <a:latin typeface="+mn-lt"/>
              </a:rPr>
              <a:t>Event End</a:t>
            </a:r>
            <a:endParaRPr lang="ja-JP" altLang="en-US" b="1" dirty="0">
              <a:latin typeface="+mn-lt"/>
            </a:endParaRPr>
          </a:p>
        </p:txBody>
      </p:sp>
      <p:sp>
        <p:nvSpPr>
          <p:cNvPr id="58" name="テキスト ボックス 57">
            <a:extLst>
              <a:ext uri="{FF2B5EF4-FFF2-40B4-BE49-F238E27FC236}">
                <a16:creationId xmlns:a16="http://schemas.microsoft.com/office/drawing/2014/main" id="{5B3097AC-C4E6-522B-282C-6543A66AEB63}"/>
              </a:ext>
            </a:extLst>
          </p:cNvPr>
          <p:cNvSpPr txBox="1"/>
          <p:nvPr/>
        </p:nvSpPr>
        <p:spPr>
          <a:xfrm>
            <a:off x="18479" y="4872684"/>
            <a:ext cx="3739312" cy="307777"/>
          </a:xfrm>
          <a:prstGeom prst="rect">
            <a:avLst/>
          </a:prstGeom>
          <a:noFill/>
        </p:spPr>
        <p:txBody>
          <a:bodyPr wrap="square">
            <a:spAutoFit/>
          </a:bodyPr>
          <a:lstStyle/>
          <a:p>
            <a:r>
              <a:rPr lang="en-US" altLang="ja-JP" sz="1400" i="1" u="sng" dirty="0">
                <a:solidFill>
                  <a:schemeClr val="tx2"/>
                </a:solidFill>
                <a:latin typeface="+mn-lt"/>
              </a:rPr>
              <a:t>Directly sampling the event’s end-time</a:t>
            </a:r>
            <a:endParaRPr lang="ja-JP" altLang="en-US" sz="1400" i="1" u="sng" dirty="0">
              <a:solidFill>
                <a:schemeClr val="tx2"/>
              </a:solidFill>
              <a:latin typeface="+mn-lt"/>
            </a:endParaRPr>
          </a:p>
        </p:txBody>
      </p:sp>
      <p:sp>
        <p:nvSpPr>
          <p:cNvPr id="59" name="楕円 58">
            <a:extLst>
              <a:ext uri="{FF2B5EF4-FFF2-40B4-BE49-F238E27FC236}">
                <a16:creationId xmlns:a16="http://schemas.microsoft.com/office/drawing/2014/main" id="{167B0D16-2DB0-5571-2F2E-5FE698A4ED73}"/>
              </a:ext>
            </a:extLst>
          </p:cNvPr>
          <p:cNvSpPr/>
          <p:nvPr/>
        </p:nvSpPr>
        <p:spPr>
          <a:xfrm>
            <a:off x="2331776" y="5834299"/>
            <a:ext cx="144000" cy="144000"/>
          </a:xfrm>
          <a:prstGeom prst="ellipse">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F1DDE659-9DE1-6AF7-2BB8-9E045DF835BB}"/>
              </a:ext>
            </a:extLst>
          </p:cNvPr>
          <p:cNvSpPr txBox="1"/>
          <p:nvPr/>
        </p:nvSpPr>
        <p:spPr>
          <a:xfrm>
            <a:off x="2407575" y="5715171"/>
            <a:ext cx="1188294" cy="349555"/>
          </a:xfrm>
          <a:prstGeom prst="rect">
            <a:avLst/>
          </a:prstGeom>
          <a:noFill/>
        </p:spPr>
        <p:txBody>
          <a:bodyPr wrap="square">
            <a:spAutoFit/>
          </a:bodyPr>
          <a:lstStyle/>
          <a:p>
            <a:r>
              <a:rPr lang="en-US" altLang="ja-JP" sz="1600" b="1" dirty="0">
                <a:latin typeface="+mn-lt"/>
              </a:rPr>
              <a:t>Event End</a:t>
            </a:r>
            <a:endParaRPr lang="ja-JP" altLang="en-US" b="1" dirty="0">
              <a:latin typeface="+mn-lt"/>
            </a:endParaRPr>
          </a:p>
        </p:txBody>
      </p:sp>
      <mc:AlternateContent xmlns:mc="http://schemas.openxmlformats.org/markup-compatibility/2006" xmlns:a14="http://schemas.microsoft.com/office/drawing/2010/main">
        <mc:Choice Requires="a14">
          <p:sp>
            <p:nvSpPr>
              <p:cNvPr id="63" name="テキスト ボックス 62">
                <a:extLst>
                  <a:ext uri="{FF2B5EF4-FFF2-40B4-BE49-F238E27FC236}">
                    <a16:creationId xmlns:a16="http://schemas.microsoft.com/office/drawing/2014/main" id="{A57384ED-092A-D802-F109-EA0E7B79F9C4}"/>
                  </a:ext>
                </a:extLst>
              </p:cNvPr>
              <p:cNvSpPr txBox="1"/>
              <p:nvPr/>
            </p:nvSpPr>
            <p:spPr>
              <a:xfrm>
                <a:off x="12150" y="6105241"/>
                <a:ext cx="4580110" cy="307777"/>
              </a:xfrm>
              <a:prstGeom prst="rect">
                <a:avLst/>
              </a:prstGeom>
              <a:noFill/>
            </p:spPr>
            <p:txBody>
              <a:bodyPr wrap="square">
                <a:spAutoFit/>
              </a:bodyPr>
              <a:lstStyle/>
              <a:p>
                <a:r>
                  <a:rPr lang="ja-JP" altLang="ja-JP" sz="1400" i="1" u="sng" dirty="0">
                    <a:solidFill>
                      <a:schemeClr val="tx2"/>
                    </a:solidFill>
                    <a:latin typeface="+mn-lt"/>
                  </a:rPr>
                  <a:t>Evaluates </a:t>
                </a:r>
                <a:r>
                  <a:rPr lang="en-US" altLang="ja-JP" sz="1400" i="1" u="sng" dirty="0">
                    <a:solidFill>
                      <a:schemeClr val="tx2"/>
                    </a:solidFill>
                    <a:latin typeface="+mn-lt"/>
                  </a:rPr>
                  <a:t>event</a:t>
                </a:r>
                <a:r>
                  <a:rPr lang="ja-JP" altLang="ja-JP" sz="1400" i="1" u="sng" dirty="0">
                    <a:solidFill>
                      <a:schemeClr val="tx2"/>
                    </a:solidFill>
                    <a:latin typeface="+mn-lt"/>
                  </a:rPr>
                  <a:t> at every </a:t>
                </a:r>
                <a:r>
                  <a:rPr lang="ja-JP" altLang="ja-JP" sz="1400" i="1" u="sng">
                    <a:solidFill>
                      <a:schemeClr val="tx2"/>
                    </a:solidFill>
                    <a:latin typeface="+mn-lt"/>
                  </a:rPr>
                  <a:t>small </a:t>
                </a:r>
                <a:r>
                  <a:rPr lang="en-US" altLang="ja-JP" sz="1400" i="1" u="sng" dirty="0">
                    <a:solidFill>
                      <a:schemeClr val="tx2"/>
                    </a:solidFill>
                    <a:latin typeface="+mn-lt"/>
                  </a:rPr>
                  <a:t>chosen-</a:t>
                </a:r>
                <a:r>
                  <a:rPr lang="ja-JP" altLang="ja-JP" sz="1400" i="1" u="sng">
                    <a:solidFill>
                      <a:schemeClr val="tx2"/>
                    </a:solidFill>
                    <a:latin typeface="+mn-lt"/>
                  </a:rPr>
                  <a:t>timestep </a:t>
                </a:r>
                <a:r>
                  <a:rPr lang="ja-JP" altLang="ja-JP" sz="1400" i="1" u="sng" dirty="0">
                    <a:solidFill>
                      <a:schemeClr val="tx2"/>
                    </a:solidFill>
                    <a:latin typeface="+mn-lt"/>
                  </a:rPr>
                  <a:t>(</a:t>
                </a:r>
                <a14:m>
                  <m:oMath xmlns:m="http://schemas.openxmlformats.org/officeDocument/2006/math">
                    <m:r>
                      <a:rPr lang="en-US" altLang="ja-JP" sz="1400" b="0" i="1" u="sng">
                        <a:solidFill>
                          <a:schemeClr val="tx2"/>
                        </a:solidFill>
                        <a:latin typeface="Cambria Math" panose="02040503050406030204" pitchFamily="18" charset="0"/>
                      </a:rPr>
                      <m:t>𝛥</m:t>
                    </m:r>
                    <m:r>
                      <a:rPr lang="ja-JP" altLang="en-US" sz="1400" b="0" i="1" u="sng">
                        <a:solidFill>
                          <a:schemeClr val="tx2"/>
                        </a:solidFill>
                        <a:latin typeface="Cambria Math" panose="02040503050406030204" pitchFamily="18" charset="0"/>
                      </a:rPr>
                      <m:t>𝑡</m:t>
                    </m:r>
                  </m:oMath>
                </a14:m>
                <a:r>
                  <a:rPr lang="ja-JP" altLang="ja-JP" sz="1400" i="1" u="sng" dirty="0">
                    <a:solidFill>
                      <a:schemeClr val="tx2"/>
                    </a:solidFill>
                    <a:latin typeface="+mn-lt"/>
                  </a:rPr>
                  <a:t>)</a:t>
                </a:r>
                <a:endParaRPr lang="ja-JP" altLang="en-US" sz="1400" i="1" u="sng" dirty="0">
                  <a:solidFill>
                    <a:schemeClr val="tx2"/>
                  </a:solidFill>
                  <a:latin typeface="+mn-lt"/>
                </a:endParaRPr>
              </a:p>
            </p:txBody>
          </p:sp>
        </mc:Choice>
        <mc:Fallback xmlns="">
          <p:sp>
            <p:nvSpPr>
              <p:cNvPr id="63" name="テキスト ボックス 62">
                <a:extLst>
                  <a:ext uri="{FF2B5EF4-FFF2-40B4-BE49-F238E27FC236}">
                    <a16:creationId xmlns:a16="http://schemas.microsoft.com/office/drawing/2014/main" id="{A57384ED-092A-D802-F109-EA0E7B79F9C4}"/>
                  </a:ext>
                </a:extLst>
              </p:cNvPr>
              <p:cNvSpPr txBox="1">
                <a:spLocks noRot="1" noChangeAspect="1" noMove="1" noResize="1" noEditPoints="1" noAdjustHandles="1" noChangeArrowheads="1" noChangeShapeType="1" noTextEdit="1"/>
              </p:cNvSpPr>
              <p:nvPr/>
            </p:nvSpPr>
            <p:spPr>
              <a:xfrm>
                <a:off x="12150" y="6105241"/>
                <a:ext cx="4580110" cy="307777"/>
              </a:xfrm>
              <a:prstGeom prst="rect">
                <a:avLst/>
              </a:prstGeom>
              <a:blipFill>
                <a:blip r:embed="rId6"/>
                <a:stretch>
                  <a:fillRect l="-276" b="-24000"/>
                </a:stretch>
              </a:blipFill>
            </p:spPr>
            <p:txBody>
              <a:bodyPr/>
              <a:lstStyle/>
              <a:p>
                <a:r>
                  <a:rPr lang="ja-JP" altLang="en-US">
                    <a:noFill/>
                  </a:rPr>
                  <a:t> </a:t>
                </a:r>
              </a:p>
            </p:txBody>
          </p:sp>
        </mc:Fallback>
      </mc:AlternateContent>
      <p:sp>
        <p:nvSpPr>
          <p:cNvPr id="65" name="テキスト ボックス 64">
            <a:extLst>
              <a:ext uri="{FF2B5EF4-FFF2-40B4-BE49-F238E27FC236}">
                <a16:creationId xmlns:a16="http://schemas.microsoft.com/office/drawing/2014/main" id="{DFAF0AB7-C7ED-A95B-C168-876011D6A584}"/>
              </a:ext>
            </a:extLst>
          </p:cNvPr>
          <p:cNvSpPr txBox="1"/>
          <p:nvPr/>
        </p:nvSpPr>
        <p:spPr>
          <a:xfrm>
            <a:off x="9149" y="3497357"/>
            <a:ext cx="2293055" cy="307777"/>
          </a:xfrm>
          <a:prstGeom prst="rect">
            <a:avLst/>
          </a:prstGeom>
          <a:noFill/>
        </p:spPr>
        <p:txBody>
          <a:bodyPr wrap="square">
            <a:spAutoFit/>
          </a:bodyPr>
          <a:lstStyle/>
          <a:p>
            <a:r>
              <a:rPr lang="en-US" altLang="ja-JP" sz="1400" b="1" dirty="0">
                <a:solidFill>
                  <a:schemeClr val="tx2"/>
                </a:solidFill>
              </a:rPr>
              <a:t>(Traditional Monte Carlo) </a:t>
            </a:r>
            <a:endParaRPr lang="ja-JP" altLang="en-US" sz="1400" dirty="0"/>
          </a:p>
        </p:txBody>
      </p:sp>
      <p:sp>
        <p:nvSpPr>
          <p:cNvPr id="66" name="テキスト ボックス 65">
            <a:extLst>
              <a:ext uri="{FF2B5EF4-FFF2-40B4-BE49-F238E27FC236}">
                <a16:creationId xmlns:a16="http://schemas.microsoft.com/office/drawing/2014/main" id="{D043B500-5BCC-8CF5-7CCD-55014ED5F43F}"/>
              </a:ext>
            </a:extLst>
          </p:cNvPr>
          <p:cNvSpPr txBox="1"/>
          <p:nvPr/>
        </p:nvSpPr>
        <p:spPr>
          <a:xfrm>
            <a:off x="0" y="5327608"/>
            <a:ext cx="1693247" cy="307777"/>
          </a:xfrm>
          <a:prstGeom prst="rect">
            <a:avLst/>
          </a:prstGeom>
          <a:noFill/>
        </p:spPr>
        <p:txBody>
          <a:bodyPr wrap="square">
            <a:spAutoFit/>
          </a:bodyPr>
          <a:lstStyle/>
          <a:p>
            <a:r>
              <a:rPr lang="en-US" altLang="ja-JP" sz="1400" b="1" dirty="0">
                <a:solidFill>
                  <a:schemeClr val="tx2"/>
                </a:solidFill>
              </a:rPr>
              <a:t>(CMMC)</a:t>
            </a:r>
            <a:endParaRPr lang="ja-JP" altLang="en-US" sz="1400" dirty="0"/>
          </a:p>
        </p:txBody>
      </p:sp>
      <mc:AlternateContent xmlns:mc="http://schemas.openxmlformats.org/markup-compatibility/2006" xmlns:a14="http://schemas.microsoft.com/office/drawing/2010/main">
        <mc:Choice Requires="a14">
          <p:sp>
            <p:nvSpPr>
              <p:cNvPr id="4" name="テキスト ボックス 3">
                <a:extLst>
                  <a:ext uri="{FF2B5EF4-FFF2-40B4-BE49-F238E27FC236}">
                    <a16:creationId xmlns:a16="http://schemas.microsoft.com/office/drawing/2014/main" id="{B4A8C655-319E-6181-2B85-37FC636F24E8}"/>
                  </a:ext>
                </a:extLst>
              </p:cNvPr>
              <p:cNvSpPr txBox="1"/>
              <p:nvPr/>
            </p:nvSpPr>
            <p:spPr>
              <a:xfrm>
                <a:off x="6849137" y="3789620"/>
                <a:ext cx="315151" cy="215444"/>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ja-JP" altLang="en-US" sz="1400" i="1" smtClean="0">
                          <a:latin typeface="Cambria Math" panose="02040503050406030204" pitchFamily="18" charset="0"/>
                        </a:rPr>
                        <m:t>𝜆</m:t>
                      </m:r>
                      <m:r>
                        <a:rPr kumimoji="1" lang="en-US" altLang="ja-JP" sz="1400" b="0" i="1" smtClean="0">
                          <a:latin typeface="Cambria Math" panose="02040503050406030204" pitchFamily="18" charset="0"/>
                        </a:rPr>
                        <m:t>, </m:t>
                      </m:r>
                      <m:r>
                        <a:rPr kumimoji="1" lang="en-US" altLang="ja-JP" sz="1400" b="0" i="1" smtClean="0">
                          <a:latin typeface="Cambria Math" panose="02040503050406030204" pitchFamily="18" charset="0"/>
                          <a:ea typeface="Cambria Math" panose="02040503050406030204" pitchFamily="18" charset="0"/>
                        </a:rPr>
                        <m:t>𝜇</m:t>
                      </m:r>
                    </m:oMath>
                  </m:oMathPara>
                </a14:m>
                <a:endParaRPr kumimoji="1" lang="ja-JP" altLang="en-US" sz="1400"/>
              </a:p>
            </p:txBody>
          </p:sp>
        </mc:Choice>
        <mc:Fallback xmlns="">
          <p:sp>
            <p:nvSpPr>
              <p:cNvPr id="4" name="テキスト ボックス 3">
                <a:extLst>
                  <a:ext uri="{FF2B5EF4-FFF2-40B4-BE49-F238E27FC236}">
                    <a16:creationId xmlns:a16="http://schemas.microsoft.com/office/drawing/2014/main" id="{B4A8C655-319E-6181-2B85-37FC636F24E8}"/>
                  </a:ext>
                </a:extLst>
              </p:cNvPr>
              <p:cNvSpPr txBox="1">
                <a:spLocks noRot="1" noChangeAspect="1" noMove="1" noResize="1" noEditPoints="1" noAdjustHandles="1" noChangeArrowheads="1" noChangeShapeType="1" noTextEdit="1"/>
              </p:cNvSpPr>
              <p:nvPr/>
            </p:nvSpPr>
            <p:spPr>
              <a:xfrm>
                <a:off x="6849137" y="3789620"/>
                <a:ext cx="315151" cy="215444"/>
              </a:xfrm>
              <a:prstGeom prst="rect">
                <a:avLst/>
              </a:prstGeom>
              <a:blipFill>
                <a:blip r:embed="rId7"/>
                <a:stretch>
                  <a:fillRect l="-12000" r="-12000" b="-27778"/>
                </a:stretch>
              </a:blipFill>
            </p:spPr>
            <p:txBody>
              <a:bodyPr/>
              <a:lstStyle/>
              <a:p>
                <a:r>
                  <a:rPr lang="ja-JP" altLang="en-US">
                    <a:noFill/>
                  </a:rPr>
                  <a:t> </a:t>
                </a:r>
              </a:p>
            </p:txBody>
          </p:sp>
        </mc:Fallback>
      </mc:AlternateContent>
      <p:sp>
        <p:nvSpPr>
          <p:cNvPr id="10" name="テキスト ボックス 9">
            <a:extLst>
              <a:ext uri="{FF2B5EF4-FFF2-40B4-BE49-F238E27FC236}">
                <a16:creationId xmlns:a16="http://schemas.microsoft.com/office/drawing/2014/main" id="{B65CDEEA-839C-F16A-0F80-4254649908B9}"/>
              </a:ext>
            </a:extLst>
          </p:cNvPr>
          <p:cNvSpPr txBox="1"/>
          <p:nvPr/>
        </p:nvSpPr>
        <p:spPr>
          <a:xfrm>
            <a:off x="8039703" y="4111157"/>
            <a:ext cx="1084660" cy="430887"/>
          </a:xfrm>
          <a:prstGeom prst="rect">
            <a:avLst/>
          </a:prstGeom>
          <a:noFill/>
        </p:spPr>
        <p:txBody>
          <a:bodyPr wrap="square">
            <a:spAutoFit/>
          </a:bodyPr>
          <a:lstStyle/>
          <a:p>
            <a:r>
              <a:rPr lang="en-US" altLang="zh-TW" sz="1100" i="1" dirty="0">
                <a:solidFill>
                  <a:schemeClr val="tx2"/>
                </a:solidFill>
              </a:rPr>
              <a:t>State t</a:t>
            </a:r>
            <a:r>
              <a:rPr lang="en-US" altLang="ja-JP" sz="1100" i="1" dirty="0">
                <a:solidFill>
                  <a:schemeClr val="tx2"/>
                </a:solidFill>
              </a:rPr>
              <a:t>ransition</a:t>
            </a:r>
            <a:r>
              <a:rPr lang="ja-JP" altLang="en-US" sz="1100" i="1">
                <a:solidFill>
                  <a:schemeClr val="tx2"/>
                </a:solidFill>
              </a:rPr>
              <a:t> </a:t>
            </a:r>
            <a:r>
              <a:rPr lang="en-US" altLang="ja-JP" sz="1100" i="1" dirty="0">
                <a:solidFill>
                  <a:schemeClr val="tx2"/>
                </a:solidFill>
              </a:rPr>
              <a:t>prob. </a:t>
            </a:r>
            <a:endParaRPr lang="ja-JP" altLang="en-US" sz="1100" i="1"/>
          </a:p>
        </p:txBody>
      </p:sp>
      <p:cxnSp>
        <p:nvCxnSpPr>
          <p:cNvPr id="11" name="カギ線コネクタ 10">
            <a:extLst>
              <a:ext uri="{FF2B5EF4-FFF2-40B4-BE49-F238E27FC236}">
                <a16:creationId xmlns:a16="http://schemas.microsoft.com/office/drawing/2014/main" id="{ED35272C-FAA1-1547-0B40-3A1541B89642}"/>
              </a:ext>
            </a:extLst>
          </p:cNvPr>
          <p:cNvCxnSpPr>
            <a:cxnSpLocks/>
          </p:cNvCxnSpPr>
          <p:nvPr/>
        </p:nvCxnSpPr>
        <p:spPr>
          <a:xfrm rot="10800000" flipV="1">
            <a:off x="7884368" y="4390737"/>
            <a:ext cx="235580" cy="219773"/>
          </a:xfrm>
          <a:prstGeom prst="bentConnector3">
            <a:avLst>
              <a:gd name="adj1" fmla="val 9961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984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03163-ACE3-7040-FE10-5ED8F281173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9E9BE83-C18E-CEBC-BF78-BD17655C5E6C}"/>
              </a:ext>
            </a:extLst>
          </p:cNvPr>
          <p:cNvSpPr>
            <a:spLocks noGrp="1"/>
          </p:cNvSpPr>
          <p:nvPr>
            <p:ph type="title"/>
          </p:nvPr>
        </p:nvSpPr>
        <p:spPr/>
        <p:txBody>
          <a:bodyPr/>
          <a:lstStyle/>
          <a:p>
            <a:pPr algn="l"/>
            <a:r>
              <a:rPr lang="en-US" altLang="zh-TW" dirty="0"/>
              <a:t>Methodology </a:t>
            </a:r>
            <a:r>
              <a:rPr lang="en-US" altLang="zh-TW" sz="2000" dirty="0">
                <a:cs typeface="Calibri" panose="020F0502020204030204" pitchFamily="34" charset="0"/>
              </a:rPr>
              <a:t>— Sampling </a:t>
            </a:r>
            <a:r>
              <a:rPr lang="en-US" altLang="ja-JP" sz="2000" dirty="0"/>
              <a:t>Competing Outcomes</a:t>
            </a:r>
            <a:r>
              <a:rPr lang="en-US" altLang="zh-TW" sz="2000" dirty="0">
                <a:cs typeface="Calibri" panose="020F0502020204030204" pitchFamily="34" charset="0"/>
              </a:rPr>
              <a:t> —</a:t>
            </a:r>
            <a:endParaRPr kumimoji="1" lang="ja-JP" altLang="en-US" sz="2000" dirty="0"/>
          </a:p>
        </p:txBody>
      </p:sp>
      <p:sp>
        <p:nvSpPr>
          <p:cNvPr id="14" name="コンテンツ プレースホルダー 4">
            <a:extLst>
              <a:ext uri="{FF2B5EF4-FFF2-40B4-BE49-F238E27FC236}">
                <a16:creationId xmlns:a16="http://schemas.microsoft.com/office/drawing/2014/main" id="{2B7ABE12-9256-F6B9-831A-26AC2050C4D8}"/>
              </a:ext>
            </a:extLst>
          </p:cNvPr>
          <p:cNvSpPr>
            <a:spLocks noGrp="1"/>
          </p:cNvSpPr>
          <p:nvPr>
            <p:ph idx="1"/>
          </p:nvPr>
        </p:nvSpPr>
        <p:spPr>
          <a:xfrm>
            <a:off x="223327" y="1159447"/>
            <a:ext cx="8675320" cy="1798385"/>
          </a:xfrm>
        </p:spPr>
        <p:txBody>
          <a:bodyPr/>
          <a:lstStyle/>
          <a:p>
            <a:r>
              <a:rPr lang="en-US" altLang="zh-TW" b="1" dirty="0"/>
              <a:t>In CMMC</a:t>
            </a:r>
            <a:r>
              <a:rPr lang="en-US" altLang="ja-JP" b="1" dirty="0"/>
              <a:t>:</a:t>
            </a:r>
          </a:p>
          <a:p>
            <a:pPr lvl="1"/>
            <a:r>
              <a:rPr lang="en-US" altLang="ja-JP" sz="1400" b="1" dirty="0"/>
              <a:t>Markov state: </a:t>
            </a:r>
            <a:r>
              <a:rPr lang="en-US" altLang="ja-JP" sz="1400" dirty="0"/>
              <a:t>Machine state only </a:t>
            </a:r>
            <a:r>
              <a:rPr lang="ja-JP" altLang="en-US" sz="1400"/>
              <a:t>➡</a:t>
            </a:r>
            <a:r>
              <a:rPr lang="en-US" altLang="ja-JP" sz="1400" dirty="0"/>
              <a:t> Repair status inferred through one-to-one mapping </a:t>
            </a:r>
            <a:br>
              <a:rPr lang="en-US" altLang="ja-JP" sz="1400" dirty="0"/>
            </a:br>
            <a:r>
              <a:rPr lang="ja-JP" altLang="en-US" sz="1400"/>
              <a:t>➡</a:t>
            </a:r>
            <a:r>
              <a:rPr lang="en-US" altLang="ja-JP" sz="1400" dirty="0"/>
              <a:t> The competing outcomes of </a:t>
            </a:r>
            <a:r>
              <a:rPr lang="en-US" altLang="ja-JP" sz="1400" u="sng" dirty="0"/>
              <a:t>Successful repair completion</a:t>
            </a:r>
            <a:r>
              <a:rPr lang="en-US" altLang="ja-JP" sz="1400" dirty="0"/>
              <a:t> and </a:t>
            </a:r>
            <a:r>
              <a:rPr lang="en-US" altLang="ja-JP" sz="1400" u="sng" dirty="0"/>
              <a:t>Failed repair completion</a:t>
            </a:r>
            <a:r>
              <a:rPr lang="en-US" altLang="ja-JP" sz="1400" dirty="0"/>
              <a:t>  cannot be distinguished.</a:t>
            </a:r>
          </a:p>
          <a:p>
            <a:r>
              <a:rPr lang="en-US" altLang="ja-JP" b="1" dirty="0">
                <a:highlight>
                  <a:srgbClr val="FFFF00"/>
                </a:highlight>
              </a:rPr>
              <a:t>Newly Proposed Co-CMMC</a:t>
            </a:r>
            <a:r>
              <a:rPr lang="en-US" altLang="ja-JP" b="1" dirty="0"/>
              <a:t>:</a:t>
            </a:r>
          </a:p>
          <a:p>
            <a:pPr lvl="1"/>
            <a:r>
              <a:rPr lang="en-US" altLang="ja-JP" sz="1400" b="1" dirty="0"/>
              <a:t>By introducing </a:t>
            </a:r>
            <a:r>
              <a:rPr lang="en-US" altLang="ja-JP" sz="1400" b="1" dirty="0">
                <a:highlight>
                  <a:srgbClr val="FFFF00"/>
                </a:highlight>
              </a:rPr>
              <a:t>“</a:t>
            </a:r>
            <a:r>
              <a:rPr lang="ja-JP" altLang="ja-JP" sz="1400" b="1">
                <a:highlight>
                  <a:srgbClr val="FFFF00"/>
                </a:highlight>
              </a:rPr>
              <a:t>Joint Markov State</a:t>
            </a:r>
            <a:r>
              <a:rPr lang="en-US" altLang="ja-JP" sz="1400" b="1" dirty="0"/>
              <a:t>”: </a:t>
            </a:r>
            <a:r>
              <a:rPr lang="en-US" altLang="ja-JP" sz="1400" dirty="0"/>
              <a:t>Machine state + repair-task state </a:t>
            </a:r>
            <a:r>
              <a:rPr lang="ja-JP" altLang="en-US" sz="1400"/>
              <a:t>➡</a:t>
            </a:r>
            <a:r>
              <a:rPr lang="en-US" altLang="ja-JP" sz="1400" dirty="0"/>
              <a:t> </a:t>
            </a:r>
            <a:r>
              <a:rPr lang="en-US" altLang="ja-JP" sz="1400" b="1" dirty="0"/>
              <a:t>Concurrent</a:t>
            </a:r>
            <a:r>
              <a:rPr lang="en-US" altLang="ja-JP" sz="1400" dirty="0"/>
              <a:t> tracking </a:t>
            </a:r>
            <a:br>
              <a:rPr lang="en-US" altLang="ja-JP" sz="1400" dirty="0"/>
            </a:br>
            <a:r>
              <a:rPr lang="ja-JP" altLang="en-US" sz="1400"/>
              <a:t>➡</a:t>
            </a:r>
            <a:r>
              <a:rPr lang="en-US" altLang="ja-JP" sz="1400" dirty="0"/>
              <a:t> </a:t>
            </a:r>
            <a:r>
              <a:rPr lang="en-US" altLang="ja-JP" sz="1400" u="sng" dirty="0"/>
              <a:t>Ongoing repair</a:t>
            </a:r>
            <a:r>
              <a:rPr lang="en-US" altLang="ja-JP" sz="1400" dirty="0"/>
              <a:t>, </a:t>
            </a:r>
            <a:r>
              <a:rPr lang="en-US" altLang="ja-JP" sz="1400" u="sng" dirty="0"/>
              <a:t>Successful completion</a:t>
            </a:r>
            <a:r>
              <a:rPr lang="en-US" altLang="ja-JP" sz="1400" dirty="0"/>
              <a:t>, and </a:t>
            </a:r>
            <a:r>
              <a:rPr lang="en-US" altLang="ja-JP" sz="1400" u="sng" dirty="0"/>
              <a:t>Failed completion</a:t>
            </a:r>
            <a:r>
              <a:rPr lang="en-US" altLang="ja-JP" sz="1400" dirty="0"/>
              <a:t> can be explicitly distinguished.</a:t>
            </a:r>
            <a:endParaRPr lang="ja-JP" altLang="en-US" sz="1400" dirty="0"/>
          </a:p>
        </p:txBody>
      </p:sp>
      <p:sp>
        <p:nvSpPr>
          <p:cNvPr id="12" name="テキスト プレースホルダー 12">
            <a:extLst>
              <a:ext uri="{FF2B5EF4-FFF2-40B4-BE49-F238E27FC236}">
                <a16:creationId xmlns:a16="http://schemas.microsoft.com/office/drawing/2014/main" id="{D7C9D7A9-598D-0179-0714-4C8536E390BC}"/>
              </a:ext>
            </a:extLst>
          </p:cNvPr>
          <p:cNvSpPr txBox="1">
            <a:spLocks/>
          </p:cNvSpPr>
          <p:nvPr/>
        </p:nvSpPr>
        <p:spPr bwMode="auto">
          <a:xfrm>
            <a:off x="1187624" y="6571093"/>
            <a:ext cx="8395015" cy="25100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1" fontAlgn="base" hangingPunct="1">
              <a:spcBef>
                <a:spcPts val="277"/>
              </a:spcBef>
              <a:spcAft>
                <a:spcPct val="0"/>
              </a:spcAft>
              <a:buClr>
                <a:schemeClr val="tx1"/>
              </a:buClr>
              <a:buFont typeface="Wingdings" panose="05000000000000000000" pitchFamily="2" charset="2"/>
              <a:buNone/>
              <a:defRPr kumimoji="1" sz="11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922"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922"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922"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922"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r>
              <a:rPr lang="en-US" altLang="ja-JP" b="1" dirty="0"/>
              <a:t>Co-CMMC: Concurrent CMMC</a:t>
            </a:r>
            <a:endParaRPr lang="ja-JP" altLang="en-US"/>
          </a:p>
        </p:txBody>
      </p:sp>
      <p:pic>
        <p:nvPicPr>
          <p:cNvPr id="8" name="Picture 2">
            <a:extLst>
              <a:ext uri="{FF2B5EF4-FFF2-40B4-BE49-F238E27FC236}">
                <a16:creationId xmlns:a16="http://schemas.microsoft.com/office/drawing/2014/main" id="{83CBC898-7565-58CC-BECB-C35D405BAD2A}"/>
              </a:ext>
            </a:extLst>
          </p:cNvPr>
          <p:cNvPicPr>
            <a:picLocks noChangeAspect="1"/>
          </p:cNvPicPr>
          <p:nvPr/>
        </p:nvPicPr>
        <p:blipFill>
          <a:blip r:embed="rId3"/>
          <a:srcRect l="42333" t="71003" r="42677" b="14395"/>
          <a:stretch>
            <a:fillRect/>
          </a:stretch>
        </p:blipFill>
        <p:spPr>
          <a:xfrm>
            <a:off x="6404092" y="5247654"/>
            <a:ext cx="927656" cy="504056"/>
          </a:xfrm>
          <a:prstGeom prst="rect">
            <a:avLst/>
          </a:prstGeom>
        </p:spPr>
      </p:pic>
      <p:grpSp>
        <p:nvGrpSpPr>
          <p:cNvPr id="22" name="グループ化 21">
            <a:extLst>
              <a:ext uri="{FF2B5EF4-FFF2-40B4-BE49-F238E27FC236}">
                <a16:creationId xmlns:a16="http://schemas.microsoft.com/office/drawing/2014/main" id="{404D6012-AD39-F56A-735D-C773625C9733}"/>
              </a:ext>
            </a:extLst>
          </p:cNvPr>
          <p:cNvGrpSpPr/>
          <p:nvPr/>
        </p:nvGrpSpPr>
        <p:grpSpPr>
          <a:xfrm>
            <a:off x="197063" y="3516482"/>
            <a:ext cx="3596110" cy="1736832"/>
            <a:chOff x="513346" y="3113174"/>
            <a:chExt cx="2331720" cy="1042965"/>
          </a:xfrm>
        </p:grpSpPr>
        <p:pic>
          <p:nvPicPr>
            <p:cNvPr id="9" name="Picture 2">
              <a:extLst>
                <a:ext uri="{FF2B5EF4-FFF2-40B4-BE49-F238E27FC236}">
                  <a16:creationId xmlns:a16="http://schemas.microsoft.com/office/drawing/2014/main" id="{7AD31CAE-40B2-2F9A-A259-982EEEC4C544}"/>
                </a:ext>
              </a:extLst>
            </p:cNvPr>
            <p:cNvPicPr>
              <a:picLocks noChangeAspect="1"/>
            </p:cNvPicPr>
            <p:nvPr/>
          </p:nvPicPr>
          <p:blipFill>
            <a:blip r:embed="rId4"/>
            <a:srcRect l="7647" t="34696" r="54677" b="35092"/>
            <a:stretch>
              <a:fillRect/>
            </a:stretch>
          </p:blipFill>
          <p:spPr>
            <a:xfrm>
              <a:off x="513346" y="3113174"/>
              <a:ext cx="2331720" cy="1042965"/>
            </a:xfrm>
            <a:prstGeom prst="rect">
              <a:avLst/>
            </a:prstGeom>
          </p:spPr>
        </p:pic>
        <p:sp>
          <p:nvSpPr>
            <p:cNvPr id="15" name="正方形/長方形 14">
              <a:extLst>
                <a:ext uri="{FF2B5EF4-FFF2-40B4-BE49-F238E27FC236}">
                  <a16:creationId xmlns:a16="http://schemas.microsoft.com/office/drawing/2014/main" id="{2F4A3C32-A317-7269-1288-82B03E97D1F5}"/>
                </a:ext>
              </a:extLst>
            </p:cNvPr>
            <p:cNvSpPr/>
            <p:nvPr/>
          </p:nvSpPr>
          <p:spPr>
            <a:xfrm>
              <a:off x="1158162" y="3113174"/>
              <a:ext cx="936104" cy="3981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3" name="Picture 2">
            <a:extLst>
              <a:ext uri="{FF2B5EF4-FFF2-40B4-BE49-F238E27FC236}">
                <a16:creationId xmlns:a16="http://schemas.microsoft.com/office/drawing/2014/main" id="{B41CD4C5-BE22-FF9A-7A06-659F2CAB748C}"/>
              </a:ext>
            </a:extLst>
          </p:cNvPr>
          <p:cNvPicPr>
            <a:picLocks noChangeAspect="1"/>
          </p:cNvPicPr>
          <p:nvPr/>
        </p:nvPicPr>
        <p:blipFill>
          <a:blip r:embed="rId5"/>
          <a:srcRect l="5428" t="25558" r="6433" b="29897"/>
          <a:stretch>
            <a:fillRect/>
          </a:stretch>
        </p:blipFill>
        <p:spPr>
          <a:xfrm>
            <a:off x="4574455" y="3859948"/>
            <a:ext cx="4489067" cy="1265569"/>
          </a:xfrm>
          <a:prstGeom prst="rect">
            <a:avLst/>
          </a:prstGeom>
        </p:spPr>
      </p:pic>
      <p:pic>
        <p:nvPicPr>
          <p:cNvPr id="29" name="Picture 2">
            <a:extLst>
              <a:ext uri="{FF2B5EF4-FFF2-40B4-BE49-F238E27FC236}">
                <a16:creationId xmlns:a16="http://schemas.microsoft.com/office/drawing/2014/main" id="{2E0B8D4C-9EAF-8FF3-6BA4-88F535B258FF}"/>
              </a:ext>
            </a:extLst>
          </p:cNvPr>
          <p:cNvPicPr>
            <a:picLocks noChangeAspect="1"/>
          </p:cNvPicPr>
          <p:nvPr/>
        </p:nvPicPr>
        <p:blipFill>
          <a:blip r:embed="rId3"/>
          <a:srcRect l="14172" t="70965" r="75016" b="14687"/>
          <a:stretch>
            <a:fillRect/>
          </a:stretch>
        </p:blipFill>
        <p:spPr>
          <a:xfrm>
            <a:off x="4846948" y="5174071"/>
            <a:ext cx="669119" cy="495335"/>
          </a:xfrm>
          <a:prstGeom prst="rect">
            <a:avLst/>
          </a:prstGeom>
        </p:spPr>
      </p:pic>
      <p:pic>
        <p:nvPicPr>
          <p:cNvPr id="30" name="Picture 2">
            <a:extLst>
              <a:ext uri="{FF2B5EF4-FFF2-40B4-BE49-F238E27FC236}">
                <a16:creationId xmlns:a16="http://schemas.microsoft.com/office/drawing/2014/main" id="{2D7B5C76-09EA-709F-CBE3-B206AAD63F60}"/>
              </a:ext>
            </a:extLst>
          </p:cNvPr>
          <p:cNvPicPr>
            <a:picLocks noChangeAspect="1"/>
          </p:cNvPicPr>
          <p:nvPr/>
        </p:nvPicPr>
        <p:blipFill>
          <a:blip r:embed="rId3"/>
          <a:srcRect l="14172" t="72548" r="80422" b="17023"/>
          <a:stretch>
            <a:fillRect/>
          </a:stretch>
        </p:blipFill>
        <p:spPr>
          <a:xfrm>
            <a:off x="790841" y="5014626"/>
            <a:ext cx="334560" cy="360040"/>
          </a:xfrm>
          <a:prstGeom prst="rect">
            <a:avLst/>
          </a:prstGeom>
        </p:spPr>
      </p:pic>
      <p:pic>
        <p:nvPicPr>
          <p:cNvPr id="32" name="Picture 2">
            <a:extLst>
              <a:ext uri="{FF2B5EF4-FFF2-40B4-BE49-F238E27FC236}">
                <a16:creationId xmlns:a16="http://schemas.microsoft.com/office/drawing/2014/main" id="{C79FA7F7-F122-9141-9B9C-0A0A59CE6EB9}"/>
              </a:ext>
            </a:extLst>
          </p:cNvPr>
          <p:cNvPicPr>
            <a:picLocks noChangeAspect="1"/>
          </p:cNvPicPr>
          <p:nvPr/>
        </p:nvPicPr>
        <p:blipFill>
          <a:blip r:embed="rId3"/>
          <a:srcRect l="42333" t="73232" r="50451" b="14395"/>
          <a:stretch>
            <a:fillRect/>
          </a:stretch>
        </p:blipFill>
        <p:spPr>
          <a:xfrm>
            <a:off x="2713937" y="5027377"/>
            <a:ext cx="446566" cy="427088"/>
          </a:xfrm>
          <a:prstGeom prst="rect">
            <a:avLst/>
          </a:prstGeom>
        </p:spPr>
      </p:pic>
      <p:pic>
        <p:nvPicPr>
          <p:cNvPr id="33" name="Picture 2">
            <a:extLst>
              <a:ext uri="{FF2B5EF4-FFF2-40B4-BE49-F238E27FC236}">
                <a16:creationId xmlns:a16="http://schemas.microsoft.com/office/drawing/2014/main" id="{85018826-7E26-B2FD-30C8-222607AE3F6D}"/>
              </a:ext>
            </a:extLst>
          </p:cNvPr>
          <p:cNvPicPr>
            <a:picLocks noChangeAspect="1"/>
          </p:cNvPicPr>
          <p:nvPr/>
        </p:nvPicPr>
        <p:blipFill>
          <a:blip r:embed="rId3"/>
          <a:srcRect l="74802" t="71246" r="14276" b="14395"/>
          <a:stretch>
            <a:fillRect/>
          </a:stretch>
        </p:blipFill>
        <p:spPr>
          <a:xfrm>
            <a:off x="8015610" y="5209763"/>
            <a:ext cx="675930" cy="495656"/>
          </a:xfrm>
          <a:prstGeom prst="rect">
            <a:avLst/>
          </a:prstGeom>
        </p:spPr>
      </p:pic>
      <p:sp>
        <p:nvSpPr>
          <p:cNvPr id="35" name="テキスト ボックス 34">
            <a:extLst>
              <a:ext uri="{FF2B5EF4-FFF2-40B4-BE49-F238E27FC236}">
                <a16:creationId xmlns:a16="http://schemas.microsoft.com/office/drawing/2014/main" id="{7B6CCE65-82CA-E1AD-4462-6BAB8CDDACC7}"/>
              </a:ext>
            </a:extLst>
          </p:cNvPr>
          <p:cNvSpPr txBox="1"/>
          <p:nvPr/>
        </p:nvSpPr>
        <p:spPr>
          <a:xfrm>
            <a:off x="440624" y="5357376"/>
            <a:ext cx="1207077" cy="430887"/>
          </a:xfrm>
          <a:prstGeom prst="rect">
            <a:avLst/>
          </a:prstGeom>
          <a:noFill/>
        </p:spPr>
        <p:txBody>
          <a:bodyPr wrap="square">
            <a:spAutoFit/>
          </a:bodyPr>
          <a:lstStyle/>
          <a:p>
            <a:r>
              <a:rPr lang="en-US" altLang="ja-JP" sz="1100" b="1" dirty="0">
                <a:solidFill>
                  <a:schemeClr val="tx2"/>
                </a:solidFill>
              </a:rPr>
              <a:t>Machine is working</a:t>
            </a:r>
            <a:endParaRPr lang="ja-JP" altLang="en-US" sz="1100" b="1"/>
          </a:p>
        </p:txBody>
      </p:sp>
      <p:sp>
        <p:nvSpPr>
          <p:cNvPr id="36" name="テキスト ボックス 35">
            <a:extLst>
              <a:ext uri="{FF2B5EF4-FFF2-40B4-BE49-F238E27FC236}">
                <a16:creationId xmlns:a16="http://schemas.microsoft.com/office/drawing/2014/main" id="{B075D5D4-0820-DE40-324C-D21ECE4B3CDF}"/>
              </a:ext>
            </a:extLst>
          </p:cNvPr>
          <p:cNvSpPr txBox="1"/>
          <p:nvPr/>
        </p:nvSpPr>
        <p:spPr>
          <a:xfrm>
            <a:off x="2577556" y="5373106"/>
            <a:ext cx="1005876" cy="430887"/>
          </a:xfrm>
          <a:prstGeom prst="rect">
            <a:avLst/>
          </a:prstGeom>
          <a:noFill/>
        </p:spPr>
        <p:txBody>
          <a:bodyPr wrap="square">
            <a:spAutoFit/>
          </a:bodyPr>
          <a:lstStyle/>
          <a:p>
            <a:r>
              <a:rPr lang="en-US" altLang="ja-JP" sz="1100" b="1" dirty="0">
                <a:solidFill>
                  <a:schemeClr val="tx2"/>
                </a:solidFill>
              </a:rPr>
              <a:t>Machine is stopped</a:t>
            </a:r>
            <a:endParaRPr lang="ja-JP" altLang="en-US" sz="1100" b="1"/>
          </a:p>
        </p:txBody>
      </p:sp>
      <p:sp>
        <p:nvSpPr>
          <p:cNvPr id="37" name="テキスト ボックス 36">
            <a:extLst>
              <a:ext uri="{FF2B5EF4-FFF2-40B4-BE49-F238E27FC236}">
                <a16:creationId xmlns:a16="http://schemas.microsoft.com/office/drawing/2014/main" id="{674E577D-9F8B-5A04-7EA9-89C2B89C1FCF}"/>
              </a:ext>
            </a:extLst>
          </p:cNvPr>
          <p:cNvSpPr txBox="1"/>
          <p:nvPr/>
        </p:nvSpPr>
        <p:spPr>
          <a:xfrm>
            <a:off x="4654390" y="5607847"/>
            <a:ext cx="1223030" cy="769441"/>
          </a:xfrm>
          <a:prstGeom prst="rect">
            <a:avLst/>
          </a:prstGeom>
          <a:noFill/>
        </p:spPr>
        <p:txBody>
          <a:bodyPr wrap="square">
            <a:spAutoFit/>
          </a:bodyPr>
          <a:lstStyle/>
          <a:p>
            <a:r>
              <a:rPr lang="en-US" altLang="ja-JP" sz="1100" b="1" dirty="0">
                <a:solidFill>
                  <a:schemeClr val="tx2"/>
                </a:solidFill>
              </a:rPr>
              <a:t>Machine is working </a:t>
            </a:r>
            <a:br>
              <a:rPr lang="en-US" altLang="ja-JP" sz="1100" b="1" dirty="0">
                <a:solidFill>
                  <a:schemeClr val="tx2"/>
                </a:solidFill>
              </a:rPr>
            </a:br>
            <a:r>
              <a:rPr lang="en-US" altLang="ja-JP" sz="1100" b="1" dirty="0">
                <a:solidFill>
                  <a:schemeClr val="tx2"/>
                </a:solidFill>
              </a:rPr>
              <a:t>+ repair task is stopped</a:t>
            </a:r>
            <a:endParaRPr lang="ja-JP" altLang="en-US" sz="1100" b="1"/>
          </a:p>
        </p:txBody>
      </p:sp>
      <p:sp>
        <p:nvSpPr>
          <p:cNvPr id="38" name="テキスト ボックス 37">
            <a:extLst>
              <a:ext uri="{FF2B5EF4-FFF2-40B4-BE49-F238E27FC236}">
                <a16:creationId xmlns:a16="http://schemas.microsoft.com/office/drawing/2014/main" id="{711B5559-17C5-A831-A757-CF633CD84216}"/>
              </a:ext>
            </a:extLst>
          </p:cNvPr>
          <p:cNvSpPr txBox="1"/>
          <p:nvPr/>
        </p:nvSpPr>
        <p:spPr>
          <a:xfrm>
            <a:off x="6409524" y="5672202"/>
            <a:ext cx="1366661" cy="769441"/>
          </a:xfrm>
          <a:prstGeom prst="rect">
            <a:avLst/>
          </a:prstGeom>
          <a:noFill/>
        </p:spPr>
        <p:txBody>
          <a:bodyPr wrap="square">
            <a:spAutoFit/>
          </a:bodyPr>
          <a:lstStyle/>
          <a:p>
            <a:r>
              <a:rPr lang="en-US" altLang="ja-JP" sz="1100" b="1" dirty="0">
                <a:solidFill>
                  <a:schemeClr val="tx2"/>
                </a:solidFill>
              </a:rPr>
              <a:t>Machine is stopped</a:t>
            </a:r>
            <a:br>
              <a:rPr lang="en-US" altLang="ja-JP" sz="1100" b="1" dirty="0">
                <a:solidFill>
                  <a:schemeClr val="tx2"/>
                </a:solidFill>
              </a:rPr>
            </a:br>
            <a:r>
              <a:rPr lang="en-US" altLang="ja-JP" sz="1100" b="1" dirty="0">
                <a:solidFill>
                  <a:schemeClr val="tx2"/>
                </a:solidFill>
              </a:rPr>
              <a:t>+ repair task is undergoing</a:t>
            </a:r>
            <a:endParaRPr lang="ja-JP" altLang="en-US" sz="1100" b="1"/>
          </a:p>
        </p:txBody>
      </p:sp>
      <p:sp>
        <p:nvSpPr>
          <p:cNvPr id="39" name="テキスト ボックス 38">
            <a:extLst>
              <a:ext uri="{FF2B5EF4-FFF2-40B4-BE49-F238E27FC236}">
                <a16:creationId xmlns:a16="http://schemas.microsoft.com/office/drawing/2014/main" id="{7D43A40F-FA89-EEE0-2DF0-1C4B77C3C48F}"/>
              </a:ext>
            </a:extLst>
          </p:cNvPr>
          <p:cNvSpPr txBox="1"/>
          <p:nvPr/>
        </p:nvSpPr>
        <p:spPr>
          <a:xfrm>
            <a:off x="8006814" y="5705419"/>
            <a:ext cx="1333029" cy="769441"/>
          </a:xfrm>
          <a:prstGeom prst="rect">
            <a:avLst/>
          </a:prstGeom>
          <a:noFill/>
        </p:spPr>
        <p:txBody>
          <a:bodyPr wrap="square">
            <a:spAutoFit/>
          </a:bodyPr>
          <a:lstStyle/>
          <a:p>
            <a:r>
              <a:rPr lang="en-US" altLang="ja-JP" sz="1100" b="1" dirty="0">
                <a:solidFill>
                  <a:schemeClr val="tx2"/>
                </a:solidFill>
              </a:rPr>
              <a:t>Machine is stopped</a:t>
            </a:r>
            <a:br>
              <a:rPr lang="en-US" altLang="ja-JP" sz="1100" b="1" dirty="0">
                <a:solidFill>
                  <a:schemeClr val="tx2"/>
                </a:solidFill>
              </a:rPr>
            </a:br>
            <a:r>
              <a:rPr lang="en-US" altLang="ja-JP" sz="1100" b="1" dirty="0">
                <a:solidFill>
                  <a:schemeClr val="tx2"/>
                </a:solidFill>
              </a:rPr>
              <a:t>+ repair task is stopped</a:t>
            </a:r>
            <a:endParaRPr lang="ja-JP" altLang="en-US" sz="1100" b="1"/>
          </a:p>
        </p:txBody>
      </p:sp>
      <p:sp>
        <p:nvSpPr>
          <p:cNvPr id="41" name="テキスト ボックス 40">
            <a:extLst>
              <a:ext uri="{FF2B5EF4-FFF2-40B4-BE49-F238E27FC236}">
                <a16:creationId xmlns:a16="http://schemas.microsoft.com/office/drawing/2014/main" id="{45D54B70-67F5-AF4B-4717-52CE7A90A8C0}"/>
              </a:ext>
            </a:extLst>
          </p:cNvPr>
          <p:cNvSpPr txBox="1"/>
          <p:nvPr/>
        </p:nvSpPr>
        <p:spPr>
          <a:xfrm>
            <a:off x="1205115" y="4957949"/>
            <a:ext cx="1722990" cy="600164"/>
          </a:xfrm>
          <a:prstGeom prst="rect">
            <a:avLst/>
          </a:prstGeom>
          <a:noFill/>
        </p:spPr>
        <p:txBody>
          <a:bodyPr wrap="square">
            <a:spAutoFit/>
          </a:bodyPr>
          <a:lstStyle/>
          <a:p>
            <a:r>
              <a:rPr lang="en-US" altLang="ja-JP" sz="1100" dirty="0">
                <a:solidFill>
                  <a:srgbClr val="C00000"/>
                </a:solidFill>
              </a:rPr>
              <a:t>Repair task is </a:t>
            </a:r>
            <a:r>
              <a:rPr lang="en-US" altLang="ja-JP" sz="1100" b="1" u="sng" dirty="0">
                <a:solidFill>
                  <a:srgbClr val="C00000"/>
                </a:solidFill>
              </a:rPr>
              <a:t>completion</a:t>
            </a:r>
            <a:r>
              <a:rPr lang="en-US" altLang="ja-JP" sz="1100" dirty="0">
                <a:solidFill>
                  <a:srgbClr val="C00000"/>
                </a:solidFill>
              </a:rPr>
              <a:t> and </a:t>
            </a:r>
            <a:r>
              <a:rPr lang="en-US" altLang="ja-JP" sz="1100" b="1" u="sng" dirty="0">
                <a:solidFill>
                  <a:srgbClr val="C00000"/>
                </a:solidFill>
              </a:rPr>
              <a:t>success</a:t>
            </a:r>
            <a:endParaRPr lang="ja-JP" altLang="en-US" sz="1100" b="1" u="sng">
              <a:solidFill>
                <a:srgbClr val="C00000"/>
              </a:solidFill>
            </a:endParaRPr>
          </a:p>
        </p:txBody>
      </p:sp>
      <p:sp>
        <p:nvSpPr>
          <p:cNvPr id="43" name="テキスト ボックス 42">
            <a:extLst>
              <a:ext uri="{FF2B5EF4-FFF2-40B4-BE49-F238E27FC236}">
                <a16:creationId xmlns:a16="http://schemas.microsoft.com/office/drawing/2014/main" id="{8F6B21BF-5EA7-6A26-949F-275DFD176732}"/>
              </a:ext>
            </a:extLst>
          </p:cNvPr>
          <p:cNvSpPr txBox="1"/>
          <p:nvPr/>
        </p:nvSpPr>
        <p:spPr>
          <a:xfrm>
            <a:off x="2577556" y="3523184"/>
            <a:ext cx="1094188" cy="430887"/>
          </a:xfrm>
          <a:prstGeom prst="rect">
            <a:avLst/>
          </a:prstGeom>
          <a:noFill/>
        </p:spPr>
        <p:txBody>
          <a:bodyPr wrap="square">
            <a:spAutoFit/>
          </a:bodyPr>
          <a:lstStyle/>
          <a:p>
            <a:r>
              <a:rPr lang="en-US" altLang="ja-JP" sz="1100" dirty="0">
                <a:solidFill>
                  <a:srgbClr val="C00000"/>
                </a:solidFill>
              </a:rPr>
              <a:t>Repair task is </a:t>
            </a:r>
            <a:r>
              <a:rPr lang="en-US" altLang="ja-JP" sz="1100" b="1" u="sng" dirty="0">
                <a:solidFill>
                  <a:srgbClr val="C00000"/>
                </a:solidFill>
              </a:rPr>
              <a:t>ongoing?</a:t>
            </a:r>
            <a:endParaRPr lang="ja-JP" altLang="en-US" sz="1100" b="1" u="sng">
              <a:solidFill>
                <a:srgbClr val="C00000"/>
              </a:solidFill>
            </a:endParaRPr>
          </a:p>
        </p:txBody>
      </p:sp>
      <p:sp>
        <p:nvSpPr>
          <p:cNvPr id="47" name="テキスト ボックス 46">
            <a:extLst>
              <a:ext uri="{FF2B5EF4-FFF2-40B4-BE49-F238E27FC236}">
                <a16:creationId xmlns:a16="http://schemas.microsoft.com/office/drawing/2014/main" id="{DB2BEBA0-9C8E-6CC5-D568-5B9E7EFA7F30}"/>
              </a:ext>
            </a:extLst>
          </p:cNvPr>
          <p:cNvSpPr txBox="1"/>
          <p:nvPr/>
        </p:nvSpPr>
        <p:spPr>
          <a:xfrm>
            <a:off x="5492923" y="3486443"/>
            <a:ext cx="1094188" cy="430887"/>
          </a:xfrm>
          <a:prstGeom prst="rect">
            <a:avLst/>
          </a:prstGeom>
          <a:noFill/>
        </p:spPr>
        <p:txBody>
          <a:bodyPr wrap="square">
            <a:spAutoFit/>
          </a:bodyPr>
          <a:lstStyle/>
          <a:p>
            <a:r>
              <a:rPr lang="en-US" altLang="ja-JP" sz="1100" dirty="0">
                <a:solidFill>
                  <a:srgbClr val="C00000"/>
                </a:solidFill>
              </a:rPr>
              <a:t>Repair task is </a:t>
            </a:r>
            <a:r>
              <a:rPr lang="en-US" altLang="ja-JP" sz="1100" b="1" u="sng" dirty="0">
                <a:solidFill>
                  <a:srgbClr val="C00000"/>
                </a:solidFill>
              </a:rPr>
              <a:t>ongoing</a:t>
            </a:r>
            <a:endParaRPr lang="ja-JP" altLang="en-US" sz="1100" b="1" u="sng">
              <a:solidFill>
                <a:srgbClr val="C00000"/>
              </a:solidFill>
            </a:endParaRPr>
          </a:p>
        </p:txBody>
      </p:sp>
      <p:cxnSp>
        <p:nvCxnSpPr>
          <p:cNvPr id="51" name="直線矢印コネクタ 50">
            <a:extLst>
              <a:ext uri="{FF2B5EF4-FFF2-40B4-BE49-F238E27FC236}">
                <a16:creationId xmlns:a16="http://schemas.microsoft.com/office/drawing/2014/main" id="{EDD770E2-6464-37BD-2364-E92071C74CCC}"/>
              </a:ext>
            </a:extLst>
          </p:cNvPr>
          <p:cNvCxnSpPr>
            <a:cxnSpLocks/>
            <a:stCxn id="43" idx="2"/>
          </p:cNvCxnSpPr>
          <p:nvPr/>
        </p:nvCxnSpPr>
        <p:spPr>
          <a:xfrm>
            <a:off x="3124650" y="3954071"/>
            <a:ext cx="250905" cy="28842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7AA9A512-376D-3D3E-AD36-C42A31FA8472}"/>
              </a:ext>
            </a:extLst>
          </p:cNvPr>
          <p:cNvCxnSpPr>
            <a:cxnSpLocks/>
          </p:cNvCxnSpPr>
          <p:nvPr/>
        </p:nvCxnSpPr>
        <p:spPr>
          <a:xfrm flipH="1" flipV="1">
            <a:off x="2365807" y="4991724"/>
            <a:ext cx="27304" cy="202922"/>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AC1C5851-182C-0E9B-720C-AEA94CC67873}"/>
              </a:ext>
            </a:extLst>
          </p:cNvPr>
          <p:cNvCxnSpPr>
            <a:cxnSpLocks/>
          </p:cNvCxnSpPr>
          <p:nvPr/>
        </p:nvCxnSpPr>
        <p:spPr>
          <a:xfrm>
            <a:off x="6536627" y="3811089"/>
            <a:ext cx="257825" cy="13628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F100A9B5-9870-B641-E9B5-07432424AB78}"/>
              </a:ext>
            </a:extLst>
          </p:cNvPr>
          <p:cNvSpPr txBox="1"/>
          <p:nvPr/>
        </p:nvSpPr>
        <p:spPr>
          <a:xfrm>
            <a:off x="7630815" y="3415930"/>
            <a:ext cx="1532167" cy="600164"/>
          </a:xfrm>
          <a:prstGeom prst="rect">
            <a:avLst/>
          </a:prstGeom>
          <a:noFill/>
        </p:spPr>
        <p:txBody>
          <a:bodyPr wrap="square">
            <a:spAutoFit/>
          </a:bodyPr>
          <a:lstStyle/>
          <a:p>
            <a:r>
              <a:rPr lang="en-US" altLang="ja-JP" sz="1100" dirty="0">
                <a:solidFill>
                  <a:srgbClr val="C00000"/>
                </a:solidFill>
              </a:rPr>
              <a:t>Repair task is </a:t>
            </a:r>
            <a:r>
              <a:rPr lang="en-US" altLang="ja-JP" sz="1100" b="1" u="sng" dirty="0">
                <a:solidFill>
                  <a:srgbClr val="C00000"/>
                </a:solidFill>
              </a:rPr>
              <a:t>completion</a:t>
            </a:r>
            <a:r>
              <a:rPr lang="en-US" altLang="ja-JP" sz="1100" dirty="0">
                <a:solidFill>
                  <a:srgbClr val="C00000"/>
                </a:solidFill>
              </a:rPr>
              <a:t> and </a:t>
            </a:r>
            <a:r>
              <a:rPr lang="en-US" altLang="ja-JP" sz="1100" b="1" u="sng" dirty="0">
                <a:solidFill>
                  <a:srgbClr val="C00000"/>
                </a:solidFill>
              </a:rPr>
              <a:t>failure</a:t>
            </a:r>
            <a:endParaRPr lang="ja-JP" altLang="en-US" sz="1100" b="1" u="sng">
              <a:solidFill>
                <a:srgbClr val="C00000"/>
              </a:solidFill>
            </a:endParaRPr>
          </a:p>
        </p:txBody>
      </p:sp>
      <p:cxnSp>
        <p:nvCxnSpPr>
          <p:cNvPr id="69" name="直線矢印コネクタ 68">
            <a:extLst>
              <a:ext uri="{FF2B5EF4-FFF2-40B4-BE49-F238E27FC236}">
                <a16:creationId xmlns:a16="http://schemas.microsoft.com/office/drawing/2014/main" id="{5792F72F-296B-AE5B-E708-1C6BB698CACC}"/>
              </a:ext>
            </a:extLst>
          </p:cNvPr>
          <p:cNvCxnSpPr>
            <a:cxnSpLocks/>
          </p:cNvCxnSpPr>
          <p:nvPr/>
        </p:nvCxnSpPr>
        <p:spPr>
          <a:xfrm flipH="1">
            <a:off x="7516866" y="3903259"/>
            <a:ext cx="124328" cy="19373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820629A2-1EB7-90BE-2E51-FC1EEC384DDF}"/>
              </a:ext>
            </a:extLst>
          </p:cNvPr>
          <p:cNvSpPr txBox="1"/>
          <p:nvPr/>
        </p:nvSpPr>
        <p:spPr>
          <a:xfrm>
            <a:off x="5623782" y="4962702"/>
            <a:ext cx="1532167" cy="430887"/>
          </a:xfrm>
          <a:prstGeom prst="rect">
            <a:avLst/>
          </a:prstGeom>
          <a:noFill/>
        </p:spPr>
        <p:txBody>
          <a:bodyPr wrap="square">
            <a:spAutoFit/>
          </a:bodyPr>
          <a:lstStyle/>
          <a:p>
            <a:r>
              <a:rPr lang="en-US" altLang="ja-JP" sz="1100" b="1" u="sng" dirty="0">
                <a:solidFill>
                  <a:srgbClr val="C00000"/>
                </a:solidFill>
              </a:rPr>
              <a:t>Completion</a:t>
            </a:r>
            <a:r>
              <a:rPr lang="en-US" altLang="ja-JP" sz="1100" dirty="0">
                <a:solidFill>
                  <a:srgbClr val="C00000"/>
                </a:solidFill>
              </a:rPr>
              <a:t> and </a:t>
            </a:r>
            <a:r>
              <a:rPr lang="en-US" altLang="ja-JP" sz="1100" b="1" u="sng" dirty="0">
                <a:solidFill>
                  <a:srgbClr val="C00000"/>
                </a:solidFill>
              </a:rPr>
              <a:t>success</a:t>
            </a:r>
            <a:endParaRPr lang="ja-JP" altLang="en-US" sz="1100" b="1" u="sng">
              <a:solidFill>
                <a:srgbClr val="C00000"/>
              </a:solidFill>
            </a:endParaRPr>
          </a:p>
        </p:txBody>
      </p:sp>
      <p:cxnSp>
        <p:nvCxnSpPr>
          <p:cNvPr id="76" name="直線矢印コネクタ 75">
            <a:extLst>
              <a:ext uri="{FF2B5EF4-FFF2-40B4-BE49-F238E27FC236}">
                <a16:creationId xmlns:a16="http://schemas.microsoft.com/office/drawing/2014/main" id="{1376CB8D-0A6C-CAC7-DE36-ACD96FA8424F}"/>
              </a:ext>
            </a:extLst>
          </p:cNvPr>
          <p:cNvCxnSpPr>
            <a:cxnSpLocks/>
          </p:cNvCxnSpPr>
          <p:nvPr/>
        </p:nvCxnSpPr>
        <p:spPr>
          <a:xfrm flipH="1" flipV="1">
            <a:off x="6389865" y="4925742"/>
            <a:ext cx="146762" cy="21940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5" name="右矢印 84">
            <a:extLst>
              <a:ext uri="{FF2B5EF4-FFF2-40B4-BE49-F238E27FC236}">
                <a16:creationId xmlns:a16="http://schemas.microsoft.com/office/drawing/2014/main" id="{5DEA4817-53E3-8A6B-1898-474C7C37814F}"/>
              </a:ext>
            </a:extLst>
          </p:cNvPr>
          <p:cNvSpPr/>
          <p:nvPr/>
        </p:nvSpPr>
        <p:spPr>
          <a:xfrm>
            <a:off x="4022459" y="4624456"/>
            <a:ext cx="576064" cy="53168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a:extLst>
              <a:ext uri="{FF2B5EF4-FFF2-40B4-BE49-F238E27FC236}">
                <a16:creationId xmlns:a16="http://schemas.microsoft.com/office/drawing/2014/main" id="{432DE7BB-A47A-FB0C-3B75-1A84A6D19A23}"/>
              </a:ext>
            </a:extLst>
          </p:cNvPr>
          <p:cNvSpPr/>
          <p:nvPr/>
        </p:nvSpPr>
        <p:spPr>
          <a:xfrm>
            <a:off x="5492923" y="3438054"/>
            <a:ext cx="946154" cy="487313"/>
          </a:xfrm>
          <a:prstGeom prst="rect">
            <a:avLst/>
          </a:prstGeom>
          <a:solidFill>
            <a:schemeClr val="accent4">
              <a:lumMod val="20000"/>
              <a:lumOff val="80000"/>
              <a:alpha val="32000"/>
            </a:schemeClr>
          </a:solid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プレースホルダー 5">
            <a:extLst>
              <a:ext uri="{FF2B5EF4-FFF2-40B4-BE49-F238E27FC236}">
                <a16:creationId xmlns:a16="http://schemas.microsoft.com/office/drawing/2014/main" id="{4F646348-BE10-7A4B-F02F-DF5A25AA6F17}"/>
              </a:ext>
            </a:extLst>
          </p:cNvPr>
          <p:cNvSpPr txBox="1">
            <a:spLocks/>
          </p:cNvSpPr>
          <p:nvPr/>
        </p:nvSpPr>
        <p:spPr>
          <a:xfrm>
            <a:off x="-64232" y="2966578"/>
            <a:ext cx="4492216"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1. CMMC (Using Markov State)</a:t>
            </a:r>
          </a:p>
        </p:txBody>
      </p:sp>
      <p:cxnSp>
        <p:nvCxnSpPr>
          <p:cNvPr id="18" name="直線コネクタ 17">
            <a:extLst>
              <a:ext uri="{FF2B5EF4-FFF2-40B4-BE49-F238E27FC236}">
                <a16:creationId xmlns:a16="http://schemas.microsoft.com/office/drawing/2014/main" id="{097502BF-B9D5-70C5-F48D-5252719E6D2B}"/>
              </a:ext>
            </a:extLst>
          </p:cNvPr>
          <p:cNvCxnSpPr>
            <a:cxnSpLocks/>
          </p:cNvCxnSpPr>
          <p:nvPr/>
        </p:nvCxnSpPr>
        <p:spPr>
          <a:xfrm>
            <a:off x="439385" y="3356992"/>
            <a:ext cx="373931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テキスト プレースホルダー 5">
            <a:extLst>
              <a:ext uri="{FF2B5EF4-FFF2-40B4-BE49-F238E27FC236}">
                <a16:creationId xmlns:a16="http://schemas.microsoft.com/office/drawing/2014/main" id="{A700303F-BDAC-DA2E-D3E6-DCBD9D4A0C37}"/>
              </a:ext>
            </a:extLst>
          </p:cNvPr>
          <p:cNvSpPr txBox="1">
            <a:spLocks/>
          </p:cNvSpPr>
          <p:nvPr/>
        </p:nvSpPr>
        <p:spPr>
          <a:xfrm>
            <a:off x="4706400" y="2966578"/>
            <a:ext cx="4492216"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2. New Co-CMMC (Joint Markov State)</a:t>
            </a:r>
          </a:p>
        </p:txBody>
      </p:sp>
      <p:cxnSp>
        <p:nvCxnSpPr>
          <p:cNvPr id="92" name="直線コネクタ 91">
            <a:extLst>
              <a:ext uri="{FF2B5EF4-FFF2-40B4-BE49-F238E27FC236}">
                <a16:creationId xmlns:a16="http://schemas.microsoft.com/office/drawing/2014/main" id="{72A35899-1229-D623-F707-497156E08F28}"/>
              </a:ext>
            </a:extLst>
          </p:cNvPr>
          <p:cNvCxnSpPr>
            <a:cxnSpLocks/>
          </p:cNvCxnSpPr>
          <p:nvPr/>
        </p:nvCxnSpPr>
        <p:spPr>
          <a:xfrm>
            <a:off x="5210017" y="3356992"/>
            <a:ext cx="373931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テキスト ボックス 98">
            <a:extLst>
              <a:ext uri="{FF2B5EF4-FFF2-40B4-BE49-F238E27FC236}">
                <a16:creationId xmlns:a16="http://schemas.microsoft.com/office/drawing/2014/main" id="{2D872482-8195-B7B8-9A30-6E48C01EBB59}"/>
              </a:ext>
            </a:extLst>
          </p:cNvPr>
          <p:cNvSpPr txBox="1"/>
          <p:nvPr/>
        </p:nvSpPr>
        <p:spPr>
          <a:xfrm>
            <a:off x="3690443" y="3511007"/>
            <a:ext cx="1532167" cy="600164"/>
          </a:xfrm>
          <a:prstGeom prst="rect">
            <a:avLst/>
          </a:prstGeom>
          <a:noFill/>
        </p:spPr>
        <p:txBody>
          <a:bodyPr wrap="square">
            <a:spAutoFit/>
          </a:bodyPr>
          <a:lstStyle/>
          <a:p>
            <a:r>
              <a:rPr lang="en-US" altLang="ja-JP" sz="1100" dirty="0">
                <a:solidFill>
                  <a:srgbClr val="C00000"/>
                </a:solidFill>
              </a:rPr>
              <a:t>Repair task is </a:t>
            </a:r>
            <a:r>
              <a:rPr lang="en-US" altLang="ja-JP" sz="1100" b="1" u="sng" dirty="0">
                <a:solidFill>
                  <a:srgbClr val="C00000"/>
                </a:solidFill>
              </a:rPr>
              <a:t>completion</a:t>
            </a:r>
            <a:r>
              <a:rPr lang="en-US" altLang="ja-JP" sz="1100" dirty="0">
                <a:solidFill>
                  <a:srgbClr val="C00000"/>
                </a:solidFill>
              </a:rPr>
              <a:t> and </a:t>
            </a:r>
            <a:r>
              <a:rPr lang="en-US" altLang="ja-JP" sz="1100" b="1" u="sng" dirty="0">
                <a:solidFill>
                  <a:srgbClr val="C00000"/>
                </a:solidFill>
              </a:rPr>
              <a:t>failure?</a:t>
            </a:r>
            <a:endParaRPr lang="ja-JP" altLang="en-US" sz="1100" b="1" u="sng">
              <a:solidFill>
                <a:srgbClr val="C00000"/>
              </a:solidFill>
            </a:endParaRPr>
          </a:p>
        </p:txBody>
      </p:sp>
      <p:cxnSp>
        <p:nvCxnSpPr>
          <p:cNvPr id="100" name="直線矢印コネクタ 99">
            <a:extLst>
              <a:ext uri="{FF2B5EF4-FFF2-40B4-BE49-F238E27FC236}">
                <a16:creationId xmlns:a16="http://schemas.microsoft.com/office/drawing/2014/main" id="{5F7BCDA7-D5E4-28A7-A724-C751B77E773C}"/>
              </a:ext>
            </a:extLst>
          </p:cNvPr>
          <p:cNvCxnSpPr>
            <a:cxnSpLocks/>
          </p:cNvCxnSpPr>
          <p:nvPr/>
        </p:nvCxnSpPr>
        <p:spPr>
          <a:xfrm flipH="1">
            <a:off x="3493950" y="4070915"/>
            <a:ext cx="456667" cy="29905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5" name="正方形/長方形 104">
            <a:extLst>
              <a:ext uri="{FF2B5EF4-FFF2-40B4-BE49-F238E27FC236}">
                <a16:creationId xmlns:a16="http://schemas.microsoft.com/office/drawing/2014/main" id="{B55EC609-A36D-7922-B68A-61BBBB186DB5}"/>
              </a:ext>
            </a:extLst>
          </p:cNvPr>
          <p:cNvSpPr/>
          <p:nvPr/>
        </p:nvSpPr>
        <p:spPr>
          <a:xfrm>
            <a:off x="7677175" y="3438054"/>
            <a:ext cx="1221471" cy="578040"/>
          </a:xfrm>
          <a:prstGeom prst="rect">
            <a:avLst/>
          </a:prstGeom>
          <a:solidFill>
            <a:schemeClr val="accent4">
              <a:lumMod val="20000"/>
              <a:lumOff val="80000"/>
              <a:alpha val="32000"/>
            </a:schemeClr>
          </a:solid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165006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AA7BA-C77C-E78D-92B5-AC8E6399E4B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F910697-C717-615E-82F6-604597E3D30F}"/>
              </a:ext>
            </a:extLst>
          </p:cNvPr>
          <p:cNvSpPr>
            <a:spLocks noGrp="1"/>
          </p:cNvSpPr>
          <p:nvPr>
            <p:ph type="title"/>
          </p:nvPr>
        </p:nvSpPr>
        <p:spPr>
          <a:xfrm>
            <a:off x="374496" y="332656"/>
            <a:ext cx="8769504" cy="779116"/>
          </a:xfrm>
        </p:spPr>
        <p:txBody>
          <a:bodyPr/>
          <a:lstStyle/>
          <a:p>
            <a:pPr algn="l"/>
            <a:r>
              <a:rPr lang="en-US" altLang="zh-TW" dirty="0"/>
              <a:t>Methodology </a:t>
            </a:r>
            <a:r>
              <a:rPr lang="en-US" altLang="zh-TW" sz="2000" dirty="0">
                <a:cs typeface="Calibri" panose="020F0502020204030204" pitchFamily="34" charset="0"/>
              </a:rPr>
              <a:t>— Computational Framework Using Co-CMMC (1/2)</a:t>
            </a:r>
            <a:r>
              <a:rPr lang="en-US" altLang="ja-JP" sz="2000" dirty="0"/>
              <a:t> </a:t>
            </a:r>
            <a:r>
              <a:rPr lang="en-US" altLang="zh-TW" sz="2000" dirty="0">
                <a:cs typeface="Calibri" panose="020F0502020204030204" pitchFamily="34" charset="0"/>
              </a:rPr>
              <a:t>—</a:t>
            </a:r>
            <a:endParaRPr kumimoji="1" lang="ja-JP" altLang="en-US" sz="2000" dirty="0"/>
          </a:p>
        </p:txBody>
      </p:sp>
      <p:sp>
        <p:nvSpPr>
          <p:cNvPr id="14" name="コンテンツ プレースホルダー 4">
            <a:extLst>
              <a:ext uri="{FF2B5EF4-FFF2-40B4-BE49-F238E27FC236}">
                <a16:creationId xmlns:a16="http://schemas.microsoft.com/office/drawing/2014/main" id="{610D0095-4545-0BAD-6D20-7208EF01DB02}"/>
              </a:ext>
            </a:extLst>
          </p:cNvPr>
          <p:cNvSpPr>
            <a:spLocks noGrp="1"/>
          </p:cNvSpPr>
          <p:nvPr>
            <p:ph idx="1"/>
          </p:nvPr>
        </p:nvSpPr>
        <p:spPr>
          <a:xfrm>
            <a:off x="234340" y="1195114"/>
            <a:ext cx="8675320" cy="779117"/>
          </a:xfrm>
        </p:spPr>
        <p:txBody>
          <a:bodyPr/>
          <a:lstStyle/>
          <a:p>
            <a:r>
              <a:rPr lang="en-US" altLang="zh-TW" b="1" dirty="0"/>
              <a:t>Overview of the Co-CMMC Dynamic HRA Framework</a:t>
            </a:r>
          </a:p>
          <a:p>
            <a:pPr lvl="1"/>
            <a:r>
              <a:rPr lang="en-US" altLang="ja-JP" sz="1400" b="1" dirty="0"/>
              <a:t>4 Modules + 1 Data exchange center</a:t>
            </a:r>
          </a:p>
          <a:p>
            <a:pPr lvl="1"/>
            <a:r>
              <a:rPr lang="en-US" altLang="ja-JP" sz="1400" b="1" dirty="0"/>
              <a:t>Co-CMMC method = Module1+ Module2</a:t>
            </a:r>
            <a:endParaRPr lang="en-US" altLang="ja-JP" sz="1400" dirty="0"/>
          </a:p>
        </p:txBody>
      </p:sp>
      <p:sp>
        <p:nvSpPr>
          <p:cNvPr id="12" name="テキスト プレースホルダー 12">
            <a:extLst>
              <a:ext uri="{FF2B5EF4-FFF2-40B4-BE49-F238E27FC236}">
                <a16:creationId xmlns:a16="http://schemas.microsoft.com/office/drawing/2014/main" id="{BA0A2FCD-AB88-3063-109F-84B5F3E50DCB}"/>
              </a:ext>
            </a:extLst>
          </p:cNvPr>
          <p:cNvSpPr txBox="1">
            <a:spLocks/>
          </p:cNvSpPr>
          <p:nvPr/>
        </p:nvSpPr>
        <p:spPr bwMode="auto">
          <a:xfrm>
            <a:off x="1187624" y="6571093"/>
            <a:ext cx="8395015" cy="25100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1" fontAlgn="base" hangingPunct="1">
              <a:spcBef>
                <a:spcPts val="277"/>
              </a:spcBef>
              <a:spcAft>
                <a:spcPct val="0"/>
              </a:spcAft>
              <a:buClr>
                <a:schemeClr val="tx1"/>
              </a:buClr>
              <a:buFont typeface="Wingdings" panose="05000000000000000000" pitchFamily="2" charset="2"/>
              <a:buNone/>
              <a:defRPr kumimoji="1" sz="11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922"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922"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922"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922"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r>
              <a:rPr lang="en-US" altLang="ja-JP" b="1" dirty="0"/>
              <a:t>Co-CMMC: Concurrent CMMC</a:t>
            </a:r>
            <a:endParaRPr lang="ja-JP" altLang="en-US"/>
          </a:p>
        </p:txBody>
      </p:sp>
      <p:pic>
        <p:nvPicPr>
          <p:cNvPr id="4" name="図 3">
            <a:extLst>
              <a:ext uri="{FF2B5EF4-FFF2-40B4-BE49-F238E27FC236}">
                <a16:creationId xmlns:a16="http://schemas.microsoft.com/office/drawing/2014/main" id="{1AB6668E-BCBF-927F-4E5F-3BC646F70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920" y="2025557"/>
            <a:ext cx="8356401" cy="4358043"/>
          </a:xfrm>
          <a:prstGeom prst="rect">
            <a:avLst/>
          </a:prstGeom>
        </p:spPr>
      </p:pic>
    </p:spTree>
    <p:extLst>
      <p:ext uri="{BB962C8B-B14F-4D97-AF65-F5344CB8AC3E}">
        <p14:creationId xmlns:p14="http://schemas.microsoft.com/office/powerpoint/2010/main" val="3267311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CDA0E0-B8D4-8D9E-B4D9-620466E49C4C}"/>
            </a:ext>
          </a:extLst>
        </p:cNvPr>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940E3899-DCFE-5BB5-2F86-4C887F733655}"/>
              </a:ext>
            </a:extLst>
          </p:cNvPr>
          <p:cNvGrpSpPr/>
          <p:nvPr/>
        </p:nvGrpSpPr>
        <p:grpSpPr>
          <a:xfrm>
            <a:off x="91627" y="3741334"/>
            <a:ext cx="2842483" cy="2193421"/>
            <a:chOff x="187542" y="3212976"/>
            <a:chExt cx="3217641" cy="2025783"/>
          </a:xfrm>
        </p:grpSpPr>
        <p:pic>
          <p:nvPicPr>
            <p:cNvPr id="158" name="Picture 2">
              <a:extLst>
                <a:ext uri="{FF2B5EF4-FFF2-40B4-BE49-F238E27FC236}">
                  <a16:creationId xmlns:a16="http://schemas.microsoft.com/office/drawing/2014/main" id="{C91BC464-B406-B224-D0E1-D9ED411263AE}"/>
                </a:ext>
              </a:extLst>
            </p:cNvPr>
            <p:cNvPicPr>
              <a:picLocks noChangeAspect="1"/>
            </p:cNvPicPr>
            <p:nvPr/>
          </p:nvPicPr>
          <p:blipFill>
            <a:blip r:embed="rId3"/>
            <a:srcRect l="14738" t="18702" r="5857"/>
            <a:stretch>
              <a:fillRect/>
            </a:stretch>
          </p:blipFill>
          <p:spPr>
            <a:xfrm>
              <a:off x="187543" y="3401138"/>
              <a:ext cx="3217640" cy="1837621"/>
            </a:xfrm>
            <a:prstGeom prst="rect">
              <a:avLst/>
            </a:prstGeom>
          </p:spPr>
        </p:pic>
        <p:sp>
          <p:nvSpPr>
            <p:cNvPr id="3" name="正方形/長方形 2">
              <a:extLst>
                <a:ext uri="{FF2B5EF4-FFF2-40B4-BE49-F238E27FC236}">
                  <a16:creationId xmlns:a16="http://schemas.microsoft.com/office/drawing/2014/main" id="{42635BA9-B18E-99B7-FBB3-751F5FE972BA}"/>
                </a:ext>
              </a:extLst>
            </p:cNvPr>
            <p:cNvSpPr/>
            <p:nvPr/>
          </p:nvSpPr>
          <p:spPr>
            <a:xfrm>
              <a:off x="187542" y="3212976"/>
              <a:ext cx="1288113" cy="5040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正方形/長方形 3">
              <a:extLst>
                <a:ext uri="{FF2B5EF4-FFF2-40B4-BE49-F238E27FC236}">
                  <a16:creationId xmlns:a16="http://schemas.microsoft.com/office/drawing/2014/main" id="{1523F0B7-4C43-2D70-E09A-36A8EB1DC392}"/>
                </a:ext>
              </a:extLst>
            </p:cNvPr>
            <p:cNvSpPr/>
            <p:nvPr/>
          </p:nvSpPr>
          <p:spPr>
            <a:xfrm>
              <a:off x="187542" y="3401138"/>
              <a:ext cx="207995" cy="5040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a:extLst>
              <a:ext uri="{FF2B5EF4-FFF2-40B4-BE49-F238E27FC236}">
                <a16:creationId xmlns:a16="http://schemas.microsoft.com/office/drawing/2014/main" id="{1D70C2BB-8A19-1730-D8F5-81FE9A0F16DE}"/>
              </a:ext>
            </a:extLst>
          </p:cNvPr>
          <p:cNvSpPr>
            <a:spLocks noGrp="1"/>
          </p:cNvSpPr>
          <p:nvPr>
            <p:ph type="title"/>
          </p:nvPr>
        </p:nvSpPr>
        <p:spPr>
          <a:xfrm>
            <a:off x="374496" y="332656"/>
            <a:ext cx="8769504" cy="779116"/>
          </a:xfrm>
        </p:spPr>
        <p:txBody>
          <a:bodyPr/>
          <a:lstStyle/>
          <a:p>
            <a:pPr algn="l"/>
            <a:r>
              <a:rPr lang="en-US" altLang="zh-TW" dirty="0"/>
              <a:t>Methodology </a:t>
            </a:r>
            <a:r>
              <a:rPr lang="en-US" altLang="zh-TW" sz="2000" dirty="0">
                <a:cs typeface="Calibri" panose="020F0502020204030204" pitchFamily="34" charset="0"/>
              </a:rPr>
              <a:t>— Computational Framework Using Co-CMMC (2/2)</a:t>
            </a:r>
            <a:r>
              <a:rPr lang="en-US" altLang="ja-JP" sz="2000" dirty="0"/>
              <a:t> </a:t>
            </a:r>
            <a:r>
              <a:rPr lang="en-US" altLang="zh-TW" sz="2000" dirty="0">
                <a:cs typeface="Calibri" panose="020F0502020204030204" pitchFamily="34" charset="0"/>
              </a:rPr>
              <a:t>—</a:t>
            </a:r>
            <a:endParaRPr kumimoji="1" lang="ja-JP" altLang="en-US" sz="2000" dirty="0"/>
          </a:p>
        </p:txBody>
      </p:sp>
      <p:sp>
        <p:nvSpPr>
          <p:cNvPr id="14" name="コンテンツ プレースホルダー 4">
            <a:extLst>
              <a:ext uri="{FF2B5EF4-FFF2-40B4-BE49-F238E27FC236}">
                <a16:creationId xmlns:a16="http://schemas.microsoft.com/office/drawing/2014/main" id="{B30CFAEA-EC5D-8EF8-8284-313C58118193}"/>
              </a:ext>
            </a:extLst>
          </p:cNvPr>
          <p:cNvSpPr>
            <a:spLocks noGrp="1"/>
          </p:cNvSpPr>
          <p:nvPr>
            <p:ph idx="1"/>
          </p:nvPr>
        </p:nvSpPr>
        <p:spPr>
          <a:xfrm>
            <a:off x="234340" y="1199667"/>
            <a:ext cx="8675320" cy="1845306"/>
          </a:xfrm>
        </p:spPr>
        <p:txBody>
          <a:bodyPr/>
          <a:lstStyle/>
          <a:p>
            <a:r>
              <a:rPr lang="en-US" altLang="zh-TW" b="1" dirty="0"/>
              <a:t>Overview of the Co-CMMC Dynamic HRA Framework (On Time-Line):</a:t>
            </a:r>
          </a:p>
          <a:p>
            <a:pPr lvl="1"/>
            <a:r>
              <a:rPr lang="en-US" altLang="ja-JP" sz="1400" dirty="0"/>
              <a:t>The four modules operate sequentially within </a:t>
            </a:r>
            <a:r>
              <a:rPr lang="en-US" altLang="ja-JP" sz="1400" u="sng" dirty="0"/>
              <a:t>each time step</a:t>
            </a:r>
            <a:r>
              <a:rPr lang="en-US" altLang="ja-JP" sz="1400" dirty="0"/>
              <a:t>, enabling </a:t>
            </a:r>
            <a:r>
              <a:rPr lang="en-US" altLang="ja-JP" sz="1400" u="sng" dirty="0"/>
              <a:t>high-temporal-resolution</a:t>
            </a:r>
            <a:r>
              <a:rPr lang="en-US" altLang="ja-JP" sz="1400" dirty="0"/>
              <a:t> dynamic coupling among </a:t>
            </a:r>
            <a:r>
              <a:rPr lang="en-US" altLang="ja-JP" sz="1400" u="sng" dirty="0"/>
              <a:t>humans, machines, and the work environment.</a:t>
            </a:r>
          </a:p>
          <a:p>
            <a:r>
              <a:rPr lang="en-US" altLang="zh-TW" b="1" dirty="0">
                <a:cs typeface="Calibri" panose="020F0502020204030204" pitchFamily="34" charset="0"/>
              </a:rPr>
              <a:t>Framework</a:t>
            </a:r>
            <a:r>
              <a:rPr lang="en-US" altLang="zh-TW" b="1" dirty="0"/>
              <a:t> Elements Requiring </a:t>
            </a:r>
            <a:r>
              <a:rPr lang="en-US" altLang="zh-TW" b="1" dirty="0">
                <a:highlight>
                  <a:srgbClr val="FFFF00"/>
                </a:highlight>
              </a:rPr>
              <a:t>Scenario-Specific Adaptation</a:t>
            </a:r>
            <a:r>
              <a:rPr lang="en-US" altLang="zh-TW" b="1" dirty="0"/>
              <a:t>:</a:t>
            </a:r>
          </a:p>
          <a:p>
            <a:pPr lvl="1"/>
            <a:r>
              <a:rPr lang="en-US" altLang="ja-JP" sz="1400" dirty="0"/>
              <a:t>Markov chain structure </a:t>
            </a:r>
            <a:r>
              <a:rPr lang="en-US" altLang="ja-JP" sz="1400" b="1" dirty="0"/>
              <a:t>(for Module2)</a:t>
            </a:r>
          </a:p>
          <a:p>
            <a:pPr lvl="1"/>
            <a:r>
              <a:rPr lang="en-US" altLang="ja-JP" sz="1400" dirty="0"/>
              <a:t>Dynamic model of the target environment </a:t>
            </a:r>
            <a:r>
              <a:rPr lang="en-US" altLang="ja-JP" sz="1400" b="1" dirty="0"/>
              <a:t>(for Module4)</a:t>
            </a:r>
          </a:p>
          <a:p>
            <a:pPr lvl="1"/>
            <a:r>
              <a:rPr lang="en-US" altLang="ja-JP" sz="1400" dirty="0"/>
              <a:t>Environmental-variable dependencies of </a:t>
            </a:r>
            <a:r>
              <a:rPr lang="el-GR" altLang="ja-JP" sz="1400" i="1" dirty="0"/>
              <a:t>μ</a:t>
            </a:r>
            <a:r>
              <a:rPr lang="el-GR" altLang="ja-JP" sz="1400" dirty="0"/>
              <a:t> </a:t>
            </a:r>
            <a:r>
              <a:rPr lang="en-US" altLang="ja-JP" sz="1400" dirty="0"/>
              <a:t>and HEP </a:t>
            </a:r>
            <a:r>
              <a:rPr lang="en-US" altLang="ja-JP" sz="1400" b="1" dirty="0"/>
              <a:t>(for Module1)</a:t>
            </a:r>
          </a:p>
          <a:p>
            <a:pPr lvl="1"/>
            <a:endParaRPr lang="en-US" altLang="ja-JP" sz="1400" dirty="0"/>
          </a:p>
          <a:p>
            <a:endParaRPr lang="en-US" altLang="zh-TW" sz="1400" b="1" dirty="0"/>
          </a:p>
          <a:p>
            <a:pPr lvl="1"/>
            <a:endParaRPr lang="en-US" altLang="zh-TW" b="1" dirty="0"/>
          </a:p>
          <a:p>
            <a:endParaRPr lang="en-US" altLang="ja-JP" b="1" dirty="0"/>
          </a:p>
        </p:txBody>
      </p:sp>
      <p:sp>
        <p:nvSpPr>
          <p:cNvPr id="91" name="テキスト プレースホルダー 5">
            <a:extLst>
              <a:ext uri="{FF2B5EF4-FFF2-40B4-BE49-F238E27FC236}">
                <a16:creationId xmlns:a16="http://schemas.microsoft.com/office/drawing/2014/main" id="{6008086F-91CA-0C9E-09E3-B1D6DD6199AA}"/>
              </a:ext>
            </a:extLst>
          </p:cNvPr>
          <p:cNvSpPr txBox="1">
            <a:spLocks/>
          </p:cNvSpPr>
          <p:nvPr/>
        </p:nvSpPr>
        <p:spPr>
          <a:xfrm>
            <a:off x="-108520" y="3072792"/>
            <a:ext cx="6696744" cy="298516"/>
          </a:xfrm>
          <a:prstGeom prst="rect">
            <a:avLst/>
          </a:prstGeom>
        </p:spPr>
        <p:txBody>
          <a:bodyPr/>
          <a:lstStyle>
            <a:lvl1pPr marL="265852" indent="-265852" algn="l" rtl="0" eaLnBrk="1" fontAlgn="base" hangingPunct="1">
              <a:spcBef>
                <a:spcPts val="277"/>
              </a:spcBef>
              <a:spcAft>
                <a:spcPct val="0"/>
              </a:spcAft>
              <a:buClr>
                <a:schemeClr val="tx1"/>
              </a:buClr>
              <a:buFont typeface="Wingdings" panose="05000000000000000000" pitchFamily="2" charset="2"/>
              <a:buChar char="n"/>
              <a:defRPr kumimoji="1" sz="1600" kern="1200">
                <a:solidFill>
                  <a:schemeClr val="tx1"/>
                </a:solidFill>
                <a:latin typeface="+mn-lt"/>
                <a:ea typeface="+mn-ea"/>
                <a:cs typeface="+mn-cs"/>
              </a:defRPr>
            </a:lvl1pPr>
            <a:lvl2pPr marL="531703" indent="-265852" algn="l" rtl="0" eaLnBrk="1" fontAlgn="base" hangingPunct="1">
              <a:spcBef>
                <a:spcPts val="277"/>
              </a:spcBef>
              <a:spcAft>
                <a:spcPct val="0"/>
              </a:spcAft>
              <a:buClr>
                <a:schemeClr val="tx1"/>
              </a:buClr>
              <a:buFont typeface="Wingdings" panose="05000000000000000000" pitchFamily="2" charset="2"/>
              <a:buChar char="l"/>
              <a:defRPr kumimoji="1" sz="1600" kern="1200">
                <a:solidFill>
                  <a:schemeClr val="tx1"/>
                </a:solidFill>
                <a:latin typeface="+mn-lt"/>
                <a:ea typeface="+mn-ea"/>
                <a:cs typeface="+mn-cs"/>
              </a:defRPr>
            </a:lvl2pPr>
            <a:lvl3pPr marL="797554" indent="-265852" algn="l" rtl="0" eaLnBrk="1" fontAlgn="base" hangingPunct="1">
              <a:spcBef>
                <a:spcPts val="277"/>
              </a:spcBef>
              <a:spcAft>
                <a:spcPct val="0"/>
              </a:spcAft>
              <a:buClr>
                <a:schemeClr val="tx1"/>
              </a:buClr>
              <a:buFont typeface="Calibri" panose="020F0502020204030204" pitchFamily="34" charset="0"/>
              <a:buChar char="−"/>
              <a:defRPr kumimoji="1" sz="1600" kern="1200">
                <a:solidFill>
                  <a:schemeClr val="tx1"/>
                </a:solidFill>
                <a:latin typeface="+mn-lt"/>
                <a:ea typeface="+mn-ea"/>
                <a:cs typeface="+mn-cs"/>
              </a:defRPr>
            </a:lvl3pPr>
            <a:lvl4pPr marL="1063405" indent="-265852" algn="l" rtl="0" eaLnBrk="1" fontAlgn="base" hangingPunct="1">
              <a:spcBef>
                <a:spcPts val="277"/>
              </a:spcBef>
              <a:spcAft>
                <a:spcPct val="0"/>
              </a:spcAft>
              <a:buClr>
                <a:schemeClr val="tx1"/>
              </a:buClr>
              <a:buFont typeface="Wingdings" panose="05000000000000000000" pitchFamily="2" charset="2"/>
              <a:buChar char="p"/>
              <a:defRPr kumimoji="1" sz="1600" kern="1200">
                <a:solidFill>
                  <a:schemeClr val="tx1"/>
                </a:solidFill>
                <a:latin typeface="+mn-lt"/>
                <a:ea typeface="+mn-ea"/>
                <a:cs typeface="+mn-cs"/>
              </a:defRPr>
            </a:lvl4pPr>
            <a:lvl5pPr marL="1329257" indent="-265852" algn="l" rtl="0" eaLnBrk="1" fontAlgn="base" hangingPunct="1">
              <a:spcBef>
                <a:spcPts val="277"/>
              </a:spcBef>
              <a:spcAft>
                <a:spcPct val="0"/>
              </a:spcAft>
              <a:buClr>
                <a:schemeClr val="tx1"/>
              </a:buClr>
              <a:buFont typeface="Wingdings" panose="05000000000000000000" pitchFamily="2" charset="2"/>
              <a:buChar char="Ø"/>
              <a:defRPr kumimoji="1" sz="1600" kern="1200">
                <a:solidFill>
                  <a:schemeClr val="tx1"/>
                </a:solidFill>
                <a:latin typeface="+mn-lt"/>
                <a:ea typeface="+mn-ea"/>
                <a:cs typeface="+mn-cs"/>
              </a:defRPr>
            </a:lvl5pPr>
            <a:lvl6pPr marL="2321214"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53"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291"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30" indent="-211020" algn="l" defTabSz="844078" rtl="0" eaLnBrk="1" latinLnBrk="0" hangingPunct="1">
              <a:spcBef>
                <a:spcPct val="20000"/>
              </a:spcBef>
              <a:buFont typeface="Arial" pitchFamily="34" charset="0"/>
              <a:buChar char="•"/>
              <a:defRPr kumimoji="1" sz="1846" kern="1200">
                <a:solidFill>
                  <a:schemeClr val="tx1"/>
                </a:solidFill>
                <a:latin typeface="+mn-lt"/>
                <a:ea typeface="+mn-ea"/>
                <a:cs typeface="+mn-cs"/>
              </a:defRPr>
            </a:lvl9pPr>
          </a:lstStyle>
          <a:p>
            <a:pPr marL="265844" lvl="1" indent="0">
              <a:buNone/>
            </a:pPr>
            <a:r>
              <a:rPr lang="en-US" altLang="ja-JP" b="1" dirty="0">
                <a:solidFill>
                  <a:schemeClr val="tx2"/>
                </a:solidFill>
              </a:rPr>
              <a:t>Co-CMMC Dynamic HRA Framework: A Timeline Overview</a:t>
            </a:r>
          </a:p>
        </p:txBody>
      </p:sp>
      <p:cxnSp>
        <p:nvCxnSpPr>
          <p:cNvPr id="92" name="直線コネクタ 91">
            <a:extLst>
              <a:ext uri="{FF2B5EF4-FFF2-40B4-BE49-F238E27FC236}">
                <a16:creationId xmlns:a16="http://schemas.microsoft.com/office/drawing/2014/main" id="{C4B81E7A-EB3A-ADF2-600E-3D42C5FB4EC2}"/>
              </a:ext>
            </a:extLst>
          </p:cNvPr>
          <p:cNvCxnSpPr>
            <a:cxnSpLocks/>
          </p:cNvCxnSpPr>
          <p:nvPr/>
        </p:nvCxnSpPr>
        <p:spPr>
          <a:xfrm>
            <a:off x="395097" y="3407688"/>
            <a:ext cx="8353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51" name="図 150">
            <a:extLst>
              <a:ext uri="{FF2B5EF4-FFF2-40B4-BE49-F238E27FC236}">
                <a16:creationId xmlns:a16="http://schemas.microsoft.com/office/drawing/2014/main" id="{D26A0295-4DC6-BDD0-0981-25807EA291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5815" y="3492867"/>
            <a:ext cx="4680520" cy="3019912"/>
          </a:xfrm>
          <a:prstGeom prst="rect">
            <a:avLst/>
          </a:prstGeom>
        </p:spPr>
      </p:pic>
      <p:pic>
        <p:nvPicPr>
          <p:cNvPr id="6" name="Picture 2">
            <a:extLst>
              <a:ext uri="{FF2B5EF4-FFF2-40B4-BE49-F238E27FC236}">
                <a16:creationId xmlns:a16="http://schemas.microsoft.com/office/drawing/2014/main" id="{45B7E8CE-DCEA-10EE-47A1-C9466D54F588}"/>
              </a:ext>
            </a:extLst>
          </p:cNvPr>
          <p:cNvPicPr>
            <a:picLocks noChangeAspect="1"/>
          </p:cNvPicPr>
          <p:nvPr/>
        </p:nvPicPr>
        <p:blipFill>
          <a:blip r:embed="rId5"/>
          <a:srcRect l="5428" t="25558" r="6433" b="29897"/>
          <a:stretch>
            <a:fillRect/>
          </a:stretch>
        </p:blipFill>
        <p:spPr>
          <a:xfrm>
            <a:off x="6391340" y="3807723"/>
            <a:ext cx="2763575" cy="779115"/>
          </a:xfrm>
          <a:prstGeom prst="rect">
            <a:avLst/>
          </a:prstGeom>
          <a:ln>
            <a:noFill/>
          </a:ln>
        </p:spPr>
      </p:pic>
      <p:pic>
        <p:nvPicPr>
          <p:cNvPr id="7" name="図 6">
            <a:extLst>
              <a:ext uri="{FF2B5EF4-FFF2-40B4-BE49-F238E27FC236}">
                <a16:creationId xmlns:a16="http://schemas.microsoft.com/office/drawing/2014/main" id="{5AEE323E-94AC-C95C-0D04-44E39912736A}"/>
              </a:ext>
            </a:extLst>
          </p:cNvPr>
          <p:cNvPicPr>
            <a:picLocks noChangeAspect="1"/>
          </p:cNvPicPr>
          <p:nvPr/>
        </p:nvPicPr>
        <p:blipFill>
          <a:blip r:embed="rId6"/>
          <a:srcRect b="8696"/>
          <a:stretch>
            <a:fillRect/>
          </a:stretch>
        </p:blipFill>
        <p:spPr>
          <a:xfrm>
            <a:off x="6424522" y="5500928"/>
            <a:ext cx="1551539" cy="1215394"/>
          </a:xfrm>
          <a:prstGeom prst="rect">
            <a:avLst/>
          </a:prstGeom>
        </p:spPr>
      </p:pic>
      <p:sp>
        <p:nvSpPr>
          <p:cNvPr id="8" name="線吹き出し 2 (枠付き) 7">
            <a:extLst>
              <a:ext uri="{FF2B5EF4-FFF2-40B4-BE49-F238E27FC236}">
                <a16:creationId xmlns:a16="http://schemas.microsoft.com/office/drawing/2014/main" id="{9EB12323-25E9-6120-BF1A-89CE088DA0B9}"/>
              </a:ext>
            </a:extLst>
          </p:cNvPr>
          <p:cNvSpPr/>
          <p:nvPr/>
        </p:nvSpPr>
        <p:spPr>
          <a:xfrm>
            <a:off x="6454808" y="3697021"/>
            <a:ext cx="2636641" cy="889817"/>
          </a:xfrm>
          <a:prstGeom prst="borderCallout2">
            <a:avLst>
              <a:gd name="adj1" fmla="val 18750"/>
              <a:gd name="adj2" fmla="val -2437"/>
              <a:gd name="adj3" fmla="val 17894"/>
              <a:gd name="adj4" fmla="val -51694"/>
              <a:gd name="adj5" fmla="val 72331"/>
              <a:gd name="adj6" fmla="val -68296"/>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線吹き出し 2 (枠付き) 8">
            <a:extLst>
              <a:ext uri="{FF2B5EF4-FFF2-40B4-BE49-F238E27FC236}">
                <a16:creationId xmlns:a16="http://schemas.microsoft.com/office/drawing/2014/main" id="{45F4671C-B344-7D48-F63C-9461A3666058}"/>
              </a:ext>
            </a:extLst>
          </p:cNvPr>
          <p:cNvSpPr/>
          <p:nvPr/>
        </p:nvSpPr>
        <p:spPr>
          <a:xfrm>
            <a:off x="6084168" y="5445224"/>
            <a:ext cx="2232248" cy="1247428"/>
          </a:xfrm>
          <a:prstGeom prst="borderCallout2">
            <a:avLst>
              <a:gd name="adj1" fmla="val 18750"/>
              <a:gd name="adj2" fmla="val -2437"/>
              <a:gd name="adj3" fmla="val 75070"/>
              <a:gd name="adj4" fmla="val -11550"/>
              <a:gd name="adj5" fmla="val 75405"/>
              <a:gd name="adj6" fmla="val -49356"/>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線吹き出し 2 (枠付き) 9">
            <a:extLst>
              <a:ext uri="{FF2B5EF4-FFF2-40B4-BE49-F238E27FC236}">
                <a16:creationId xmlns:a16="http://schemas.microsoft.com/office/drawing/2014/main" id="{CC26254C-B346-76A4-9954-ED36FC1CCFFB}"/>
              </a:ext>
            </a:extLst>
          </p:cNvPr>
          <p:cNvSpPr/>
          <p:nvPr/>
        </p:nvSpPr>
        <p:spPr>
          <a:xfrm>
            <a:off x="123196" y="3902956"/>
            <a:ext cx="2760885" cy="1989687"/>
          </a:xfrm>
          <a:prstGeom prst="borderCallout2">
            <a:avLst>
              <a:gd name="adj1" fmla="val -2375"/>
              <a:gd name="adj2" fmla="val 60159"/>
              <a:gd name="adj3" fmla="val -15239"/>
              <a:gd name="adj4" fmla="val 77107"/>
              <a:gd name="adj5" fmla="val -15508"/>
              <a:gd name="adj6" fmla="val 104355"/>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3CEDBB59-CE2B-2F7A-66EB-33A492457F8A}"/>
              </a:ext>
            </a:extLst>
          </p:cNvPr>
          <p:cNvSpPr txBox="1"/>
          <p:nvPr/>
        </p:nvSpPr>
        <p:spPr>
          <a:xfrm>
            <a:off x="6425017" y="4593917"/>
            <a:ext cx="2363002" cy="307777"/>
          </a:xfrm>
          <a:prstGeom prst="rect">
            <a:avLst/>
          </a:prstGeom>
          <a:noFill/>
        </p:spPr>
        <p:txBody>
          <a:bodyPr wrap="square">
            <a:spAutoFit/>
          </a:bodyPr>
          <a:lstStyle/>
          <a:p>
            <a:r>
              <a:rPr lang="en-US" altLang="ja-JP" sz="1400" dirty="0">
                <a:solidFill>
                  <a:srgbClr val="C00000"/>
                </a:solidFill>
              </a:rPr>
              <a:t>Markov chain structure </a:t>
            </a:r>
            <a:endParaRPr lang="ja-JP" altLang="en-US">
              <a:solidFill>
                <a:srgbClr val="C00000"/>
              </a:solidFill>
            </a:endParaRPr>
          </a:p>
        </p:txBody>
      </p:sp>
      <p:sp>
        <p:nvSpPr>
          <p:cNvPr id="22" name="テキスト ボックス 21">
            <a:extLst>
              <a:ext uri="{FF2B5EF4-FFF2-40B4-BE49-F238E27FC236}">
                <a16:creationId xmlns:a16="http://schemas.microsoft.com/office/drawing/2014/main" id="{8552082C-BE78-D31D-D0DB-A9B9313EB04C}"/>
              </a:ext>
            </a:extLst>
          </p:cNvPr>
          <p:cNvSpPr txBox="1"/>
          <p:nvPr/>
        </p:nvSpPr>
        <p:spPr>
          <a:xfrm>
            <a:off x="5004048" y="6599418"/>
            <a:ext cx="3528391" cy="307777"/>
          </a:xfrm>
          <a:prstGeom prst="rect">
            <a:avLst/>
          </a:prstGeom>
          <a:noFill/>
        </p:spPr>
        <p:txBody>
          <a:bodyPr wrap="square">
            <a:spAutoFit/>
          </a:bodyPr>
          <a:lstStyle/>
          <a:p>
            <a:r>
              <a:rPr lang="en-US" altLang="ja-JP" sz="1400" dirty="0">
                <a:solidFill>
                  <a:srgbClr val="C00000"/>
                </a:solidFill>
              </a:rPr>
              <a:t>Dynamic model of the target environment</a:t>
            </a:r>
            <a:endParaRPr lang="ja-JP" altLang="en-US">
              <a:solidFill>
                <a:srgbClr val="C00000"/>
              </a:solidFill>
            </a:endParaRPr>
          </a:p>
        </p:txBody>
      </p:sp>
      <p:sp>
        <p:nvSpPr>
          <p:cNvPr id="23" name="テキスト ボックス 22">
            <a:extLst>
              <a:ext uri="{FF2B5EF4-FFF2-40B4-BE49-F238E27FC236}">
                <a16:creationId xmlns:a16="http://schemas.microsoft.com/office/drawing/2014/main" id="{37D1EA76-4EE6-6FF4-3907-2246578F12F7}"/>
              </a:ext>
            </a:extLst>
          </p:cNvPr>
          <p:cNvSpPr txBox="1"/>
          <p:nvPr/>
        </p:nvSpPr>
        <p:spPr>
          <a:xfrm>
            <a:off x="95829" y="5915282"/>
            <a:ext cx="2649744" cy="523220"/>
          </a:xfrm>
          <a:prstGeom prst="rect">
            <a:avLst/>
          </a:prstGeom>
          <a:noFill/>
        </p:spPr>
        <p:txBody>
          <a:bodyPr wrap="square">
            <a:spAutoFit/>
          </a:bodyPr>
          <a:lstStyle/>
          <a:p>
            <a:r>
              <a:rPr lang="en-US" altLang="ja-JP" sz="1400" dirty="0">
                <a:solidFill>
                  <a:srgbClr val="C00000"/>
                </a:solidFill>
              </a:rPr>
              <a:t>Environmental-variable dependencies of </a:t>
            </a:r>
            <a:r>
              <a:rPr lang="el-GR" altLang="ja-JP" sz="1400" i="1" dirty="0">
                <a:solidFill>
                  <a:srgbClr val="C00000"/>
                </a:solidFill>
              </a:rPr>
              <a:t>μ</a:t>
            </a:r>
            <a:r>
              <a:rPr lang="el-GR" altLang="ja-JP" sz="1400" dirty="0">
                <a:solidFill>
                  <a:srgbClr val="C00000"/>
                </a:solidFill>
              </a:rPr>
              <a:t> </a:t>
            </a:r>
            <a:r>
              <a:rPr lang="en-US" altLang="ja-JP" sz="1400" dirty="0">
                <a:solidFill>
                  <a:srgbClr val="C00000"/>
                </a:solidFill>
              </a:rPr>
              <a:t>and HEP</a:t>
            </a:r>
            <a:endParaRPr lang="ja-JP" altLang="en-US">
              <a:solidFill>
                <a:srgbClr val="C00000"/>
              </a:solidFill>
            </a:endParaRPr>
          </a:p>
        </p:txBody>
      </p:sp>
    </p:spTree>
    <p:extLst>
      <p:ext uri="{BB962C8B-B14F-4D97-AF65-F5344CB8AC3E}">
        <p14:creationId xmlns:p14="http://schemas.microsoft.com/office/powerpoint/2010/main" val="1873442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B2EABC-29E7-D583-5C48-4A4A2E9CEB16}"/>
            </a:ext>
          </a:extLst>
        </p:cNvPr>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B93B72EA-5BFF-E37A-6C84-6911706C3E3C}"/>
              </a:ext>
            </a:extLst>
          </p:cNvPr>
          <p:cNvSpPr>
            <a:spLocks noGrp="1"/>
          </p:cNvSpPr>
          <p:nvPr>
            <p:ph type="body" sz="quarter" idx="14"/>
          </p:nvPr>
        </p:nvSpPr>
        <p:spPr>
          <a:xfrm>
            <a:off x="374499" y="1340769"/>
            <a:ext cx="8395015" cy="4824536"/>
          </a:xfrm>
        </p:spPr>
        <p:txBody>
          <a:bodyPr/>
          <a:lstStyle/>
          <a:p>
            <a:r>
              <a:rPr lang="en-US" altLang="ja-JP" sz="2000" dirty="0">
                <a:solidFill>
                  <a:schemeClr val="bg1">
                    <a:lumMod val="50000"/>
                  </a:schemeClr>
                </a:solidFill>
              </a:rPr>
              <a:t>Introduction</a:t>
            </a:r>
          </a:p>
          <a:p>
            <a:endParaRPr lang="en-US" altLang="ja-JP" sz="2000" dirty="0"/>
          </a:p>
          <a:p>
            <a:r>
              <a:rPr lang="en-US" altLang="ja-JP" sz="2000" dirty="0">
                <a:solidFill>
                  <a:schemeClr val="bg1">
                    <a:lumMod val="50000"/>
                  </a:schemeClr>
                </a:solidFill>
              </a:rPr>
              <a:t>Methodology</a:t>
            </a:r>
          </a:p>
          <a:p>
            <a:endParaRPr lang="en-US" altLang="ja-JP" sz="2000" dirty="0">
              <a:solidFill>
                <a:schemeClr val="bg1">
                  <a:lumMod val="50000"/>
                </a:schemeClr>
              </a:solidFill>
            </a:endParaRPr>
          </a:p>
          <a:p>
            <a:r>
              <a:rPr lang="en-US" altLang="ja-JP" sz="2000" b="1" dirty="0">
                <a:solidFill>
                  <a:srgbClr val="C00000"/>
                </a:solidFill>
              </a:rPr>
              <a:t>Test Scenario</a:t>
            </a:r>
          </a:p>
          <a:p>
            <a:endParaRPr lang="en-US" altLang="ja-JP" sz="2000" dirty="0">
              <a:solidFill>
                <a:schemeClr val="bg1">
                  <a:lumMod val="50000"/>
                </a:schemeClr>
              </a:solidFill>
            </a:endParaRPr>
          </a:p>
          <a:p>
            <a:r>
              <a:rPr lang="en-US" altLang="ja-JP" sz="2000" dirty="0">
                <a:solidFill>
                  <a:schemeClr val="bg1">
                    <a:lumMod val="50000"/>
                  </a:schemeClr>
                </a:solidFill>
              </a:rPr>
              <a:t>Scenario-Specific Adaptation</a:t>
            </a:r>
          </a:p>
          <a:p>
            <a:pPr marL="0" indent="0">
              <a:buNone/>
            </a:pPr>
            <a:endParaRPr lang="en-US" altLang="ja-JP" sz="2000" dirty="0">
              <a:solidFill>
                <a:schemeClr val="bg1">
                  <a:lumMod val="50000"/>
                </a:schemeClr>
              </a:solidFill>
            </a:endParaRPr>
          </a:p>
          <a:p>
            <a:r>
              <a:rPr lang="en-US" altLang="ja-JP" sz="2000" dirty="0">
                <a:solidFill>
                  <a:schemeClr val="bg1">
                    <a:lumMod val="50000"/>
                  </a:schemeClr>
                </a:solidFill>
              </a:rPr>
              <a:t>Summary</a:t>
            </a:r>
          </a:p>
          <a:p>
            <a:endParaRPr lang="en-US" altLang="ja-JP" sz="2000" dirty="0"/>
          </a:p>
          <a:p>
            <a:endParaRPr lang="en-US" altLang="ja-JP" sz="2000" dirty="0"/>
          </a:p>
          <a:p>
            <a:pPr lvl="1"/>
            <a:endParaRPr lang="ja-JP" altLang="en-US" sz="2000" dirty="0"/>
          </a:p>
        </p:txBody>
      </p:sp>
    </p:spTree>
    <p:extLst>
      <p:ext uri="{BB962C8B-B14F-4D97-AF65-F5344CB8AC3E}">
        <p14:creationId xmlns:p14="http://schemas.microsoft.com/office/powerpoint/2010/main" val="9466427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f37pDl7B_g1tqwd.K970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eYF2kOLcUzs4zK_zzUd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XhYOj1Pf2iJlSRO.mWL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f37pDl7B_g1tqwd.K97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f37pDl7B_g1tqwd.K970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pP5J7rMqrHyM5cD3EOZ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XhYOj1Pf2iJlSRO.mWL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f37pDl7B_g1tqwd.K97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pP5J7rMqrHyM5cD3EOZ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XhYOj1Pf2iJlSRO.mWL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eYF2kOLcUzs4zK_zzUdL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XhYOj1Pf2iJlSRO.mWL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oUDHbr3DBtS9gZTbWiYVA"/>
</p:tagLst>
</file>

<file path=ppt/theme/theme1.xml><?xml version="1.0" encoding="utf-8"?>
<a:theme xmlns:a="http://schemas.openxmlformats.org/drawingml/2006/main" name="B形式_上部ロゴ_日本語">
  <a:themeElements>
    <a:clrScheme name="CRIEPI official">
      <a:dk1>
        <a:srgbClr val="323232"/>
      </a:dk1>
      <a:lt1>
        <a:srgbClr val="FFFFFF"/>
      </a:lt1>
      <a:dk2>
        <a:srgbClr val="000066"/>
      </a:dk2>
      <a:lt2>
        <a:srgbClr val="F5F5F5"/>
      </a:lt2>
      <a:accent1>
        <a:srgbClr val="CCCCCC"/>
      </a:accent1>
      <a:accent2>
        <a:srgbClr val="3399FF"/>
      </a:accent2>
      <a:accent3>
        <a:srgbClr val="99CC00"/>
      </a:accent3>
      <a:accent4>
        <a:srgbClr val="FF9933"/>
      </a:accent4>
      <a:accent5>
        <a:srgbClr val="49BA00"/>
      </a:accent5>
      <a:accent6>
        <a:srgbClr val="CC0916"/>
      </a:accent6>
      <a:hlink>
        <a:srgbClr val="332CDF"/>
      </a:hlink>
      <a:folHlink>
        <a:srgbClr val="910024"/>
      </a:folHlink>
    </a:clrScheme>
    <a:fontScheme name="游ゴシック＋Segoe UI">
      <a:majorFont>
        <a:latin typeface="Segoe UI"/>
        <a:ea typeface="游ゴシック"/>
        <a:cs typeface=""/>
      </a:majorFont>
      <a:minorFont>
        <a:latin typeface="Segoe UI"/>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10000"/>
            <a:lumOff val="90000"/>
          </a:schemeClr>
        </a:solidFill>
        <a:ln>
          <a:noFill/>
        </a:ln>
      </a:spPr>
      <a:bodyPr rtlCol="0" anchor="ctr"/>
      <a:lstStyle>
        <a:defPPr algn="ctr">
          <a:defRPr kumimoji="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kumimoji="1" dirty="0" smtClean="0">
            <a:latin typeface="+mn-lt"/>
            <a:ea typeface="+mn-ea"/>
          </a:defRPr>
        </a:defPPr>
      </a:lstStyle>
    </a:txDef>
  </a:objectDefaults>
  <a:extraClrSchemeLst/>
  <a:extLst>
    <a:ext uri="{05A4C25C-085E-4340-85A3-A5531E510DB2}">
      <thm15:themeFamily xmlns:thm15="http://schemas.microsoft.com/office/thememl/2012/main" name="20211101_テンプレβ_4✕3版かいぜんてすと" id="{39F706EE-3A89-4325-B722-6F48C8D01EC4}" vid="{3B5553CA-F06F-47BF-B891-8E2AD06948BD}"/>
    </a:ext>
  </a:extLst>
</a:theme>
</file>

<file path=ppt/theme/theme2.xml><?xml version="1.0" encoding="utf-8"?>
<a:theme xmlns:a="http://schemas.openxmlformats.org/drawingml/2006/main" name="B形式_上部ロゴ_英語">
  <a:themeElements>
    <a:clrScheme name="CRIEPI Official">
      <a:dk1>
        <a:srgbClr val="323232"/>
      </a:dk1>
      <a:lt1>
        <a:srgbClr val="FFFFFF"/>
      </a:lt1>
      <a:dk2>
        <a:srgbClr val="000066"/>
      </a:dk2>
      <a:lt2>
        <a:srgbClr val="F5F5F5"/>
      </a:lt2>
      <a:accent1>
        <a:srgbClr val="CCCCCC"/>
      </a:accent1>
      <a:accent2>
        <a:srgbClr val="3399FF"/>
      </a:accent2>
      <a:accent3>
        <a:srgbClr val="99CC00"/>
      </a:accent3>
      <a:accent4>
        <a:srgbClr val="FF9933"/>
      </a:accent4>
      <a:accent5>
        <a:srgbClr val="49BA00"/>
      </a:accent5>
      <a:accent6>
        <a:srgbClr val="565656"/>
      </a:accent6>
      <a:hlink>
        <a:srgbClr val="332CDF"/>
      </a:hlink>
      <a:folHlink>
        <a:srgbClr val="910024"/>
      </a:folHlink>
    </a:clrScheme>
    <a:fontScheme name="游ゴシック＋Segoe UI">
      <a:majorFont>
        <a:latin typeface="Segoe UI"/>
        <a:ea typeface="游ゴシック"/>
        <a:cs typeface=""/>
      </a:majorFont>
      <a:minorFont>
        <a:latin typeface="Segoe UI"/>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11101_テンプレβ_4✕3版かいぜんてすと" id="{39F706EE-3A89-4325-B722-6F48C8D01EC4}" vid="{79819A3D-732E-45D0-A998-2F6C7E072729}"/>
    </a:ext>
  </a:extLst>
</a:theme>
</file>

<file path=ppt/theme/theme3.xml><?xml version="1.0" encoding="utf-8"?>
<a:theme xmlns:a="http://schemas.openxmlformats.org/drawingml/2006/main" name="A形式_下部ロゴ_日本語">
  <a:themeElements>
    <a:clrScheme name="CRIEPI Official">
      <a:dk1>
        <a:srgbClr val="323232"/>
      </a:dk1>
      <a:lt1>
        <a:srgbClr val="FFFFFF"/>
      </a:lt1>
      <a:dk2>
        <a:srgbClr val="000066"/>
      </a:dk2>
      <a:lt2>
        <a:srgbClr val="F5F5F5"/>
      </a:lt2>
      <a:accent1>
        <a:srgbClr val="CCCCCC"/>
      </a:accent1>
      <a:accent2>
        <a:srgbClr val="3399FF"/>
      </a:accent2>
      <a:accent3>
        <a:srgbClr val="99CC00"/>
      </a:accent3>
      <a:accent4>
        <a:srgbClr val="FF9933"/>
      </a:accent4>
      <a:accent5>
        <a:srgbClr val="49BA00"/>
      </a:accent5>
      <a:accent6>
        <a:srgbClr val="565656"/>
      </a:accent6>
      <a:hlink>
        <a:srgbClr val="332CDF"/>
      </a:hlink>
      <a:folHlink>
        <a:srgbClr val="910024"/>
      </a:folHlink>
    </a:clrScheme>
    <a:fontScheme name="游ゴシック＋Segoe UI">
      <a:majorFont>
        <a:latin typeface="Segoe UI"/>
        <a:ea typeface="游ゴシック"/>
        <a:cs typeface=""/>
      </a:majorFont>
      <a:minorFont>
        <a:latin typeface="Segoe UI"/>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11101_テンプレβ_4✕3版かいぜんてすと" id="{39F706EE-3A89-4325-B722-6F48C8D01EC4}" vid="{57432BC8-F7CD-4C14-A1EE-D691DB2D7481}"/>
    </a:ext>
  </a:extLst>
</a:theme>
</file>

<file path=ppt/theme/theme4.xml><?xml version="1.0" encoding="utf-8"?>
<a:theme xmlns:a="http://schemas.openxmlformats.org/drawingml/2006/main" name="A形式_下部ロゴ_英語">
  <a:themeElements>
    <a:clrScheme name="CRIEPI Official">
      <a:dk1>
        <a:srgbClr val="323232"/>
      </a:dk1>
      <a:lt1>
        <a:srgbClr val="FFFFFF"/>
      </a:lt1>
      <a:dk2>
        <a:srgbClr val="000066"/>
      </a:dk2>
      <a:lt2>
        <a:srgbClr val="F5F5F5"/>
      </a:lt2>
      <a:accent1>
        <a:srgbClr val="CCCCCC"/>
      </a:accent1>
      <a:accent2>
        <a:srgbClr val="3399FF"/>
      </a:accent2>
      <a:accent3>
        <a:srgbClr val="99CC00"/>
      </a:accent3>
      <a:accent4>
        <a:srgbClr val="FF9933"/>
      </a:accent4>
      <a:accent5>
        <a:srgbClr val="49BA00"/>
      </a:accent5>
      <a:accent6>
        <a:srgbClr val="565656"/>
      </a:accent6>
      <a:hlink>
        <a:srgbClr val="332CDF"/>
      </a:hlink>
      <a:folHlink>
        <a:srgbClr val="910024"/>
      </a:folHlink>
    </a:clrScheme>
    <a:fontScheme name="游ゴシック＋Segoe UI">
      <a:majorFont>
        <a:latin typeface="Segoe UI"/>
        <a:ea typeface="游ゴシック"/>
        <a:cs typeface=""/>
      </a:majorFont>
      <a:minorFont>
        <a:latin typeface="Segoe UI"/>
        <a:ea typeface="游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11101_テンプレβ_4✕3版かいぜんてすと" id="{39F706EE-3A89-4325-B722-6F48C8D01EC4}" vid="{3350CCD8-E83C-4D22-888A-94619236B14B}"/>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2D3E8271BA87F44970D606053E11CEC" ma:contentTypeVersion="12" ma:contentTypeDescription="新しいドキュメントを作成します。" ma:contentTypeScope="" ma:versionID="73811ddffdc7c6f9af8068885a77d0bb">
  <xsd:schema xmlns:xsd="http://www.w3.org/2001/XMLSchema" xmlns:xs="http://www.w3.org/2001/XMLSchema" xmlns:p="http://schemas.microsoft.com/office/2006/metadata/properties" xmlns:ns2="b6666223-09d4-472a-92eb-33c80861fe84" xmlns:ns3="cfdfe505-20a4-4807-9d91-fba8f63591fb" targetNamespace="http://schemas.microsoft.com/office/2006/metadata/properties" ma:root="true" ma:fieldsID="b461d4ff00b97a6c383a92530771d0a3" ns2:_="" ns3:_="">
    <xsd:import namespace="b6666223-09d4-472a-92eb-33c80861fe84"/>
    <xsd:import namespace="cfdfe505-20a4-4807-9d91-fba8f63591f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ArchiverLinkFile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666223-09d4-472a-92eb-33c80861fe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fe09de97-c090-45b3-a502-84d46ff3119d"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ArchiverLinkFileType" ma:index="19" nillable="true" ma:displayName="ArchiverLinkFileType" ma:hidden="true" ma:internalName="ArchiverLinkFileTyp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dfe505-20a4-4807-9d91-fba8f63591f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40246d22-6876-4cb9-9567-6e0b3443c185}" ma:internalName="TaxCatchAll" ma:showField="CatchAllData" ma:web="cfdfe505-20a4-4807-9d91-fba8f63591f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fdfe505-20a4-4807-9d91-fba8f63591fb" xsi:nil="true"/>
    <lcf76f155ced4ddcb4097134ff3c332f xmlns="b6666223-09d4-472a-92eb-33c80861fe84">
      <Terms xmlns="http://schemas.microsoft.com/office/infopath/2007/PartnerControls"/>
    </lcf76f155ced4ddcb4097134ff3c332f>
    <ArchiverLinkFileType xmlns="b6666223-09d4-472a-92eb-33c80861fe8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D415B4-B14D-4F4E-9C28-55237E3A02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666223-09d4-472a-92eb-33c80861fe84"/>
    <ds:schemaRef ds:uri="cfdfe505-20a4-4807-9d91-fba8f63591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BE7B23C-37DC-430B-A509-44548EBA1AC2}">
  <ds:schemaRefs>
    <ds:schemaRef ds:uri="http://schemas.openxmlformats.org/package/2006/metadata/core-properties"/>
    <ds:schemaRef ds:uri="http://purl.org/dc/elements/1.1/"/>
    <ds:schemaRef ds:uri="b6666223-09d4-472a-92eb-33c80861fe84"/>
    <ds:schemaRef ds:uri="cfdfe505-20a4-4807-9d91-fba8f63591fb"/>
    <ds:schemaRef ds:uri="http://schemas.microsoft.com/office/2006/metadata/properties"/>
    <ds:schemaRef ds:uri="http://schemas.microsoft.com/office/2006/documentManagement/types"/>
    <ds:schemaRef ds:uri="http://purl.org/dc/term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B2A13BC-F065-452E-91E3-025C29AE35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11101_テンプレβ_4✕3版 - コピー (2)</Template>
  <TotalTime>14720</TotalTime>
  <Words>4701</Words>
  <Application>Microsoft Macintosh PowerPoint</Application>
  <PresentationFormat>画面に合わせる (4:3)</PresentationFormat>
  <Paragraphs>417</Paragraphs>
  <Slides>20</Slides>
  <Notes>19</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1</vt:i4>
      </vt:variant>
      <vt:variant>
        <vt:lpstr>スライド タイトル</vt:lpstr>
      </vt:variant>
      <vt:variant>
        <vt:i4>20</vt:i4>
      </vt:variant>
    </vt:vector>
  </HeadingPairs>
  <TitlesOfParts>
    <vt:vector size="31" baseType="lpstr">
      <vt:lpstr>Arial</vt:lpstr>
      <vt:lpstr>Calibri</vt:lpstr>
      <vt:lpstr>Cambria Math</vt:lpstr>
      <vt:lpstr>Century Gothic</vt:lpstr>
      <vt:lpstr>Segoe UI</vt:lpstr>
      <vt:lpstr>Wingdings</vt:lpstr>
      <vt:lpstr>B形式_上部ロゴ_日本語</vt:lpstr>
      <vt:lpstr>B形式_上部ロゴ_英語</vt:lpstr>
      <vt:lpstr>A形式_下部ロゴ_日本語</vt:lpstr>
      <vt:lpstr>A形式_下部ロゴ_英語</vt:lpstr>
      <vt:lpstr>think-cell スライド</vt:lpstr>
      <vt:lpstr>A Dynamic HRA Framework for Persistently Responding to Environmental Changes:  A Preliminary Test of Competing Outcomes Sampling Using the Proposed Concurrent Continuous Markov Chain Monte Carlo (Co-CMMC) Method (#LI105)</vt:lpstr>
      <vt:lpstr>Outline</vt:lpstr>
      <vt:lpstr>Introduction</vt:lpstr>
      <vt:lpstr>PowerPoint プレゼンテーション</vt:lpstr>
      <vt:lpstr>Methodology — Dynamic Event Sampling —</vt:lpstr>
      <vt:lpstr>Methodology — Sampling Competing Outcomes —</vt:lpstr>
      <vt:lpstr>Methodology — Computational Framework Using Co-CMMC (1/2) —</vt:lpstr>
      <vt:lpstr>Methodology — Computational Framework Using Co-CMMC (2/2) —</vt:lpstr>
      <vt:lpstr>PowerPoint プレゼンテーション</vt:lpstr>
      <vt:lpstr>Test Scenario — Volcanic Ashfall Hazard —</vt:lpstr>
      <vt:lpstr>Test Scenario — Repair Task —</vt:lpstr>
      <vt:lpstr>Test Scenario — Anticipated Simulation Traces —</vt:lpstr>
      <vt:lpstr>PowerPoint プレゼンテーション</vt:lpstr>
      <vt:lpstr>Scenario-Specific Adaptation — Markov Chain Structure —</vt:lpstr>
      <vt:lpstr>Scenario-Specific Adaptation — Modeling Working Environment —</vt:lpstr>
      <vt:lpstr>Scenario-Specific Adaptation — Dynamic Environment to HEP (1/2) —</vt:lpstr>
      <vt:lpstr>Scenario-Specific Adaptation — Dynamic Environment to HEP (2/2) —</vt:lpstr>
      <vt:lpstr>Scenario-Specific Adaptation — Dynamic Environment to μ —</vt:lpstr>
      <vt:lpstr>Summary</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unyen Li (李 俊諺)</dc:creator>
  <cp:lastModifiedBy>Chunyen Li (李 俊諺)</cp:lastModifiedBy>
  <cp:revision>42</cp:revision>
  <cp:lastPrinted>2026-07-20T06:06:08Z</cp:lastPrinted>
  <dcterms:created xsi:type="dcterms:W3CDTF">2025-05-22T06:27:48Z</dcterms:created>
  <dcterms:modified xsi:type="dcterms:W3CDTF">2026-07-20T11: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D3E8271BA87F44970D606053E11CEC</vt:lpwstr>
  </property>
  <property fmtid="{D5CDD505-2E9C-101B-9397-08002B2CF9AE}" pid="3" name="Order">
    <vt:r8>173</vt:r8>
  </property>
  <property fmtid="{D5CDD505-2E9C-101B-9397-08002B2CF9AE}" pid="4" name="MediaServiceImageTags">
    <vt:lpwstr/>
  </property>
</Properties>
</file>